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3.xml" ContentType="application/vnd.openxmlformats-officedocument.theme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31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7" r:id="rId4"/>
    <p:sldMasterId id="2147483704" r:id="rId5"/>
  </p:sldMasterIdLst>
  <p:notesMasterIdLst>
    <p:notesMasterId r:id="rId18"/>
  </p:notesMasterIdLst>
  <p:sldIdLst>
    <p:sldId id="2147482026" r:id="rId6"/>
    <p:sldId id="257" r:id="rId7"/>
    <p:sldId id="2147482054" r:id="rId8"/>
    <p:sldId id="2147482055" r:id="rId9"/>
    <p:sldId id="2147482056" r:id="rId10"/>
    <p:sldId id="2147483253" r:id="rId11"/>
    <p:sldId id="2147483258" r:id="rId12"/>
    <p:sldId id="2147483257" r:id="rId13"/>
    <p:sldId id="2147483259" r:id="rId14"/>
    <p:sldId id="2147483255" r:id="rId15"/>
    <p:sldId id="2147483254" r:id="rId16"/>
    <p:sldId id="2147482065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B8A13A4-2592-4953-9AC2-4A4892F6ADAA}">
          <p14:sldIdLst>
            <p14:sldId id="2147482026"/>
            <p14:sldId id="257"/>
            <p14:sldId id="2147482054"/>
            <p14:sldId id="2147482055"/>
            <p14:sldId id="2147482056"/>
            <p14:sldId id="2147483253"/>
            <p14:sldId id="2147483258"/>
            <p14:sldId id="2147483257"/>
            <p14:sldId id="2147483259"/>
            <p14:sldId id="2147483255"/>
            <p14:sldId id="2147483254"/>
            <p14:sldId id="214748206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B15A935-F9E3-F04F-2E19-E50BBCA205F3}" name="Henttu, Heikki" initials="HH" userId="S::heikki.henttu@nordea.com::4b876325-1a24-4354-bcc0-7c3cd2a7dc1c" providerId="AD"/>
  <p188:author id="{7F16C97B-8522-6405-CEA7-84D351B02BD8}" name="Guo, Jie" initials="JG" userId="S::jie.guo@nordea.com::92b38c2a-619b-45ae-8044-ed4baea7cce8" providerId="AD"/>
  <p188:author id="{2C0DE4D1-DEAD-EA0E-8A8F-BEFD522F8459}" name="Dykalska-Pawlak, Monika" initials="MD" userId="S::Monika.Dykalska-Pawlak@nordea.com::03c907eb-bc17-4a5e-9b24-bfc6461dd1a6" providerId="AD"/>
  <p188:author id="{7C34AFD2-1840-6757-32EE-9BE0015121E5}" name="de Hommel, Linda" initials="Ld" userId="S::Linda.de.Hommel@nordea.com::5223fc12-753e-49fc-a7e5-6f3668c8ec3f" providerId="AD"/>
  <p188:author id="{A589B3E2-9E5C-17EE-7B98-66A8444EA999}" name="Esilä, Ellinoora" initials="EE" userId="S::ellinoora.esila@nordea.fi::292695e7-f711-45f9-ad2b-b14d8dad115a" providerId="AD"/>
  <p188:author id="{A0DE66FF-B2B1-52F8-1A2D-3ED6B7C23CB2}" name="Karlsson, Sofie E" initials="KS" userId="S::sofie.e.karlsson@nordea.com::f9c6ab5f-fc8a-4ee2-a522-360553717ce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6E9EF"/>
    <a:srgbClr val="C9C7C7"/>
    <a:srgbClr val="E6E4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8A2DF1F-7085-4AE5-9FE7-78AB11D4F6F2}" v="63" dt="2025-10-31T12:07:04.67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38" d="100"/>
          <a:sy n="138" d="100"/>
        </p:scale>
        <p:origin x="3366" y="3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26" Type="http://schemas.openxmlformats.org/officeDocument/2006/relationships/customXml" Target="../customXml/item4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uo, Jie" userId="92b38c2a-619b-45ae-8044-ed4baea7cce8" providerId="ADAL" clId="{58775838-CD87-442F-A7DE-710F97DFBA9E}"/>
    <pc:docChg chg="undo custSel delSld modSld delSection modSection">
      <pc:chgData name="Guo, Jie" userId="92b38c2a-619b-45ae-8044-ed4baea7cce8" providerId="ADAL" clId="{58775838-CD87-442F-A7DE-710F97DFBA9E}" dt="2025-10-31T12:07:04.671" v="529"/>
      <pc:docMkLst>
        <pc:docMk/>
      </pc:docMkLst>
      <pc:sldChg chg="del">
        <pc:chgData name="Guo, Jie" userId="92b38c2a-619b-45ae-8044-ed4baea7cce8" providerId="ADAL" clId="{58775838-CD87-442F-A7DE-710F97DFBA9E}" dt="2025-10-31T09:40:07.911" v="0" actId="18676"/>
        <pc:sldMkLst>
          <pc:docMk/>
          <pc:sldMk cId="945451436" sldId="324"/>
        </pc:sldMkLst>
      </pc:sldChg>
      <pc:sldChg chg="addSp delSp modSp mod">
        <pc:chgData name="Guo, Jie" userId="92b38c2a-619b-45ae-8044-ed4baea7cce8" providerId="ADAL" clId="{58775838-CD87-442F-A7DE-710F97DFBA9E}" dt="2025-10-31T12:07:04.671" v="529"/>
        <pc:sldMkLst>
          <pc:docMk/>
          <pc:sldMk cId="2209966649" sldId="2147482026"/>
        </pc:sldMkLst>
        <pc:spChg chg="mod">
          <ac:chgData name="Guo, Jie" userId="92b38c2a-619b-45ae-8044-ed4baea7cce8" providerId="ADAL" clId="{58775838-CD87-442F-A7DE-710F97DFBA9E}" dt="2025-10-31T12:07:04.635" v="505" actId="948"/>
          <ac:spMkLst>
            <pc:docMk/>
            <pc:sldMk cId="2209966649" sldId="2147482026"/>
            <ac:spMk id="2" creationId="{F5DB6BA3-BBD0-3B57-D100-7853A68F5590}"/>
          </ac:spMkLst>
        </pc:spChg>
        <pc:spChg chg="add del mod modVis">
          <ac:chgData name="Guo, Jie" userId="92b38c2a-619b-45ae-8044-ed4baea7cce8" providerId="ADAL" clId="{58775838-CD87-442F-A7DE-710F97DFBA9E}" dt="2025-10-31T11:58:15.154" v="35"/>
          <ac:spMkLst>
            <pc:docMk/>
            <pc:sldMk cId="2209966649" sldId="2147482026"/>
            <ac:spMk id="3" creationId="{6360F42D-726E-6175-6574-DFCB6B7F6EBC}"/>
          </ac:spMkLst>
        </pc:spChg>
        <pc:spChg chg="add del mod modVis">
          <ac:chgData name="Guo, Jie" userId="92b38c2a-619b-45ae-8044-ed4baea7cce8" providerId="ADAL" clId="{58775838-CD87-442F-A7DE-710F97DFBA9E}" dt="2025-10-31T12:07:04.671" v="527"/>
          <ac:spMkLst>
            <pc:docMk/>
            <pc:sldMk cId="2209966649" sldId="2147482026"/>
            <ac:spMk id="3" creationId="{6C9BE667-FE29-88BD-3EAD-4C0FA2139C0E}"/>
          </ac:spMkLst>
        </pc:spChg>
        <pc:spChg chg="mod">
          <ac:chgData name="Guo, Jie" userId="92b38c2a-619b-45ae-8044-ed4baea7cce8" providerId="ADAL" clId="{58775838-CD87-442F-A7DE-710F97DFBA9E}" dt="2025-10-31T11:58:11.392" v="11" actId="20577"/>
          <ac:spMkLst>
            <pc:docMk/>
            <pc:sldMk cId="2209966649" sldId="2147482026"/>
            <ac:spMk id="4" creationId="{0BDD7629-8B77-1589-4D27-4067D9749BA2}"/>
          </ac:spMkLst>
        </pc:spChg>
        <pc:spChg chg="add del mod modVis">
          <ac:chgData name="Guo, Jie" userId="92b38c2a-619b-45ae-8044-ed4baea7cce8" providerId="ADAL" clId="{58775838-CD87-442F-A7DE-710F97DFBA9E}" dt="2025-10-31T11:58:44.771" v="66"/>
          <ac:spMkLst>
            <pc:docMk/>
            <pc:sldMk cId="2209966649" sldId="2147482026"/>
            <ac:spMk id="9" creationId="{5FCDCB20-97E4-4491-BC85-62EEF0CD47F4}"/>
          </ac:spMkLst>
        </pc:spChg>
        <pc:spChg chg="add del mod modVis">
          <ac:chgData name="Guo, Jie" userId="92b38c2a-619b-45ae-8044-ed4baea7cce8" providerId="ADAL" clId="{58775838-CD87-442F-A7DE-710F97DFBA9E}" dt="2025-10-31T11:58:45.796" v="92"/>
          <ac:spMkLst>
            <pc:docMk/>
            <pc:sldMk cId="2209966649" sldId="2147482026"/>
            <ac:spMk id="10" creationId="{54E03F27-1BD0-07C9-45E9-4B4CF87802B6}"/>
          </ac:spMkLst>
        </pc:spChg>
        <pc:spChg chg="add del mod modVis">
          <ac:chgData name="Guo, Jie" userId="92b38c2a-619b-45ae-8044-ed4baea7cce8" providerId="ADAL" clId="{58775838-CD87-442F-A7DE-710F97DFBA9E}" dt="2025-10-31T11:58:46.349" v="118"/>
          <ac:spMkLst>
            <pc:docMk/>
            <pc:sldMk cId="2209966649" sldId="2147482026"/>
            <ac:spMk id="11" creationId="{6791CD59-A103-3E3D-6063-FB44141A51C3}"/>
          </ac:spMkLst>
        </pc:spChg>
        <pc:spChg chg="add del mod modVis">
          <ac:chgData name="Guo, Jie" userId="92b38c2a-619b-45ae-8044-ed4baea7cce8" providerId="ADAL" clId="{58775838-CD87-442F-A7DE-710F97DFBA9E}" dt="2025-10-31T11:58:49.032" v="157"/>
          <ac:spMkLst>
            <pc:docMk/>
            <pc:sldMk cId="2209966649" sldId="2147482026"/>
            <ac:spMk id="12" creationId="{1B9D9C8D-B482-24D8-6BC2-CA94A84793B3}"/>
          </ac:spMkLst>
        </pc:spChg>
        <pc:spChg chg="add del mod modVis">
          <ac:chgData name="Guo, Jie" userId="92b38c2a-619b-45ae-8044-ed4baea7cce8" providerId="ADAL" clId="{58775838-CD87-442F-A7DE-710F97DFBA9E}" dt="2025-10-31T11:58:52.352" v="190"/>
          <ac:spMkLst>
            <pc:docMk/>
            <pc:sldMk cId="2209966649" sldId="2147482026"/>
            <ac:spMk id="13" creationId="{87B7D8D3-807B-4F0D-2811-C2C1B05BE427}"/>
          </ac:spMkLst>
        </pc:spChg>
        <pc:spChg chg="add del mod modVis">
          <ac:chgData name="Guo, Jie" userId="92b38c2a-619b-45ae-8044-ed4baea7cce8" providerId="ADAL" clId="{58775838-CD87-442F-A7DE-710F97DFBA9E}" dt="2025-10-31T11:58:56.149" v="223"/>
          <ac:spMkLst>
            <pc:docMk/>
            <pc:sldMk cId="2209966649" sldId="2147482026"/>
            <ac:spMk id="14" creationId="{0732A47A-230F-A6A6-CE4F-8A6EEFF130B2}"/>
          </ac:spMkLst>
        </pc:spChg>
        <pc:spChg chg="add del mod modVis">
          <ac:chgData name="Guo, Jie" userId="92b38c2a-619b-45ae-8044-ed4baea7cce8" providerId="ADAL" clId="{58775838-CD87-442F-A7DE-710F97DFBA9E}" dt="2025-10-31T11:58:57.878" v="255"/>
          <ac:spMkLst>
            <pc:docMk/>
            <pc:sldMk cId="2209966649" sldId="2147482026"/>
            <ac:spMk id="15" creationId="{89561A39-8608-3E06-2D58-B21E78BB01D7}"/>
          </ac:spMkLst>
        </pc:spChg>
        <pc:spChg chg="add del mod modVis">
          <ac:chgData name="Guo, Jie" userId="92b38c2a-619b-45ae-8044-ed4baea7cce8" providerId="ADAL" clId="{58775838-CD87-442F-A7DE-710F97DFBA9E}" dt="2025-10-31T11:59:06.203" v="407" actId="962"/>
          <ac:spMkLst>
            <pc:docMk/>
            <pc:sldMk cId="2209966649" sldId="2147482026"/>
            <ac:spMk id="16" creationId="{2BB663E4-1310-0DA2-745C-0544A0A01231}"/>
          </ac:spMkLst>
        </pc:spChg>
        <pc:spChg chg="add del mod modVis">
          <ac:chgData name="Guo, Jie" userId="92b38c2a-619b-45ae-8044-ed4baea7cce8" providerId="ADAL" clId="{58775838-CD87-442F-A7DE-710F97DFBA9E}" dt="2025-10-31T11:59:05.703" v="386" actId="962"/>
          <ac:spMkLst>
            <pc:docMk/>
            <pc:sldMk cId="2209966649" sldId="2147482026"/>
            <ac:spMk id="17" creationId="{7CED6EA6-9F3B-FC7F-CE5B-BD13437E3078}"/>
          </ac:spMkLst>
        </pc:spChg>
        <pc:spChg chg="add del mod modVis">
          <ac:chgData name="Guo, Jie" userId="92b38c2a-619b-45ae-8044-ed4baea7cce8" providerId="ADAL" clId="{58775838-CD87-442F-A7DE-710F97DFBA9E}" dt="2025-10-31T11:59:05.320" v="365" actId="962"/>
          <ac:spMkLst>
            <pc:docMk/>
            <pc:sldMk cId="2209966649" sldId="2147482026"/>
            <ac:spMk id="18" creationId="{F618898A-0E01-33E3-B5AB-10022BE01E23}"/>
          </ac:spMkLst>
        </pc:spChg>
        <pc:spChg chg="add del mod modVis">
          <ac:chgData name="Guo, Jie" userId="92b38c2a-619b-45ae-8044-ed4baea7cce8" providerId="ADAL" clId="{58775838-CD87-442F-A7DE-710F97DFBA9E}" dt="2025-10-31T11:59:16.550" v="442"/>
          <ac:spMkLst>
            <pc:docMk/>
            <pc:sldMk cId="2209966649" sldId="2147482026"/>
            <ac:spMk id="19" creationId="{13154947-3378-C8D5-BDF0-448D0C370F60}"/>
          </ac:spMkLst>
        </pc:spChg>
        <pc:spChg chg="add del mod modVis">
          <ac:chgData name="Guo, Jie" userId="92b38c2a-619b-45ae-8044-ed4baea7cce8" providerId="ADAL" clId="{58775838-CD87-442F-A7DE-710F97DFBA9E}" dt="2025-10-31T11:59:18.113" v="475"/>
          <ac:spMkLst>
            <pc:docMk/>
            <pc:sldMk cId="2209966649" sldId="2147482026"/>
            <ac:spMk id="20" creationId="{468B0337-59F2-8C0C-667A-0102F7BC793B}"/>
          </ac:spMkLst>
        </pc:spChg>
        <pc:spChg chg="add del mod modVis">
          <ac:chgData name="Guo, Jie" userId="92b38c2a-619b-45ae-8044-ed4baea7cce8" providerId="ADAL" clId="{58775838-CD87-442F-A7DE-710F97DFBA9E}" dt="2025-10-31T11:59:22.345" v="501"/>
          <ac:spMkLst>
            <pc:docMk/>
            <pc:sldMk cId="2209966649" sldId="2147482026"/>
            <ac:spMk id="21" creationId="{ED0990DA-2A10-4188-0E74-A754F0529170}"/>
          </ac:spMkLst>
        </pc:spChg>
        <pc:graphicFrameChg chg="mod">
          <ac:chgData name="Guo, Jie" userId="92b38c2a-619b-45ae-8044-ed4baea7cce8" providerId="ADAL" clId="{58775838-CD87-442F-A7DE-710F97DFBA9E}" dt="2025-10-31T12:07:04.671" v="529"/>
          <ac:graphicFrameMkLst>
            <pc:docMk/>
            <pc:sldMk cId="2209966649" sldId="2147482026"/>
            <ac:graphicFrameMk id="7" creationId="{4ABA2801-FEDC-1DDE-F96C-B57FDFE4D09D}"/>
          </ac:graphicFrameMkLst>
        </pc:graphicFrameChg>
      </pc:sldChg>
      <pc:sldChg chg="del">
        <pc:chgData name="Guo, Jie" userId="92b38c2a-619b-45ae-8044-ed4baea7cce8" providerId="ADAL" clId="{58775838-CD87-442F-A7DE-710F97DFBA9E}" dt="2025-10-31T09:40:07.911" v="0" actId="18676"/>
        <pc:sldMkLst>
          <pc:docMk/>
          <pc:sldMk cId="3499872146" sldId="2147482053"/>
        </pc:sldMkLst>
      </pc:sldChg>
      <pc:sldChg chg="del">
        <pc:chgData name="Guo, Jie" userId="92b38c2a-619b-45ae-8044-ed4baea7cce8" providerId="ADAL" clId="{58775838-CD87-442F-A7DE-710F97DFBA9E}" dt="2025-10-31T09:40:07.911" v="0" actId="18676"/>
        <pc:sldMkLst>
          <pc:docMk/>
          <pc:sldMk cId="2443235176" sldId="2147482060"/>
        </pc:sldMkLst>
      </pc:sldChg>
      <pc:sldChg chg="modSp mod">
        <pc:chgData name="Guo, Jie" userId="92b38c2a-619b-45ae-8044-ed4baea7cce8" providerId="ADAL" clId="{58775838-CD87-442F-A7DE-710F97DFBA9E}" dt="2025-10-31T09:40:53.793" v="4" actId="14100"/>
        <pc:sldMkLst>
          <pc:docMk/>
          <pc:sldMk cId="843531843" sldId="2147483259"/>
        </pc:sldMkLst>
        <pc:spChg chg="mod">
          <ac:chgData name="Guo, Jie" userId="92b38c2a-619b-45ae-8044-ed4baea7cce8" providerId="ADAL" clId="{58775838-CD87-442F-A7DE-710F97DFBA9E}" dt="2025-10-31T09:40:44.260" v="2" actId="1076"/>
          <ac:spMkLst>
            <pc:docMk/>
            <pc:sldMk cId="843531843" sldId="2147483259"/>
            <ac:spMk id="2" creationId="{8139DA6B-6D40-E9C1-8937-CD6A1C56712A}"/>
          </ac:spMkLst>
        </pc:spChg>
        <pc:spChg chg="mod">
          <ac:chgData name="Guo, Jie" userId="92b38c2a-619b-45ae-8044-ed4baea7cce8" providerId="ADAL" clId="{58775838-CD87-442F-A7DE-710F97DFBA9E}" dt="2025-10-31T09:40:53.793" v="4" actId="14100"/>
          <ac:spMkLst>
            <pc:docMk/>
            <pc:sldMk cId="843531843" sldId="2147483259"/>
            <ac:spMk id="23" creationId="{07FE459E-AE30-C38D-114F-0D4280A4312B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D5BB78-9A36-4F76-958B-756DF967F062}" type="datetimeFigureOut">
              <a:rPr lang="en-US" smtClean="0"/>
              <a:t>10/3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E542EC-80EF-44C6-8ECD-B9F224006C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34585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E542EC-80EF-44C6-8ECD-B9F224006CBD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52495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4FEF31-EAAB-452A-596E-7FD292D20D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8F2023D-B7CF-BF10-69DE-9EDB5A6FC5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9FAB580-A8A9-B217-69F4-81ABADFB1C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230833-9062-D73B-3F34-5AEBB653D85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61AA99-6AE6-4252-9D49-BFACABC8D97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66201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8F2FC5-60E4-04A8-3FC4-7488074E60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D6125D8-FD9B-B819-38B8-B12A08A908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EF1F3A5-5918-CFA4-F2D5-0B7435A52D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961248-5962-04AC-ACD1-C2767CA851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61AA99-6AE6-4252-9D49-BFACABC8D97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76233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1AA99-6AE6-4252-9D49-BFACABC8D97C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521084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92D2F2-7580-3419-A0EB-C9EA5BC75C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FB95381-C1A4-24FA-1106-07723C2CCE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D216382-6F94-283A-3D37-6F056E030F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245126-D6D2-72AA-B52C-91FDCD728E7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E542EC-80EF-44C6-8ECD-B9F224006CB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85594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FAC337-2B61-76FB-FA39-B6650D54EA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9ADDEB8-88C2-2895-9F12-B928E47F591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BA91165-5B6B-7BAD-A6FE-75D6B93E9E4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182C63-8D63-7FE7-26AD-E2B231E08B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61AA99-6AE6-4252-9D49-BFACABC8D97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02009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A8525F-59FE-F544-262A-419E942626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D388B10-BE07-B330-B877-4523596F36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36F0785-3789-6EB0-BF26-AEC54C197B7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B45B1A-7C71-C258-9A54-F9199456BD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1AA99-6AE6-4252-9D49-BFACABC8D97C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08088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713321-2DDE-43AB-7F50-CAC195F549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5A18515-D43D-AA4C-47BA-342A3AF9DD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8F02F2-C75D-EB3A-C65D-25E2B8F337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44AF3D-D6E5-C453-80DE-686832B056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61AA99-6AE6-4252-9D49-BFACABC8D97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47820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DEB4ED-2E56-1DBD-BF03-9D4E5F63E7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B77ED00-FC2D-3736-C3FF-9D3432BE5E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892C6E-6CDB-7699-10A5-E5662314D0A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77E942-08B3-476C-0534-78F5AF9B3C9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61AA99-6AE6-4252-9D49-BFACABC8D97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2166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22ED40-2BA2-AD76-8009-C99A8CAC0E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E31FF4B-1D07-6ADB-8FFA-A632592405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42850AB-32C9-C4C7-05BC-B1BB1D2706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F6CB07-8ED4-B977-8192-3EEF5BDD36D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61AA99-6AE6-4252-9D49-BFACABC8D97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31019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CC85A3-7BBA-A41E-448D-DA708CE072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563B260-EAAB-E93A-9F9E-99DDCFA131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A1FD5CB-D778-CCAA-0848-3D3145F4828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882BAF-306C-9E55-E67D-26A29247EC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01585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7830" y="1337952"/>
            <a:ext cx="5434585" cy="2472277"/>
          </a:xfrm>
        </p:spPr>
        <p:txBody>
          <a:bodyPr>
            <a:noAutofit/>
          </a:bodyPr>
          <a:lstStyle>
            <a:lvl1pPr>
              <a:defRPr sz="3999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7831" y="4295182"/>
            <a:ext cx="5434585" cy="360000"/>
          </a:xfrm>
        </p:spPr>
        <p:txBody>
          <a:bodyPr>
            <a:noAutofit/>
          </a:bodyPr>
          <a:lstStyle>
            <a:lvl1pPr marL="0" indent="0" algn="l">
              <a:buNone/>
              <a:defRPr sz="1799" b="1">
                <a:solidFill>
                  <a:srgbClr val="FFFFFF"/>
                </a:solidFill>
                <a:latin typeface="+mj-lt"/>
              </a:defRPr>
            </a:lvl1pPr>
            <a:lvl2pPr marL="544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7831" y="4773443"/>
            <a:ext cx="5434585" cy="21595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rgbClr val="FFFFFF"/>
                </a:solidFill>
              </a:defRPr>
            </a:lvl1pPr>
            <a:lvl2pPr marL="257114" indent="0">
              <a:buNone/>
              <a:defRPr>
                <a:solidFill>
                  <a:schemeClr val="accent2"/>
                </a:solidFill>
              </a:defRPr>
            </a:lvl2pPr>
            <a:lvl3pPr marL="514228" indent="0">
              <a:buNone/>
              <a:defRPr>
                <a:solidFill>
                  <a:schemeClr val="accent2"/>
                </a:solidFill>
              </a:defRPr>
            </a:lvl3pPr>
            <a:lvl4pPr marL="771343" indent="0">
              <a:buNone/>
              <a:defRPr>
                <a:solidFill>
                  <a:schemeClr val="accent2"/>
                </a:solidFill>
              </a:defRPr>
            </a:lvl4pPr>
            <a:lvl5pPr marL="1028456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7831" y="5025384"/>
            <a:ext cx="5434585" cy="21595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rgbClr val="FFFFFF"/>
                </a:solidFill>
              </a:defRPr>
            </a:lvl1pPr>
            <a:lvl2pPr marL="257114" indent="0">
              <a:buNone/>
              <a:defRPr>
                <a:solidFill>
                  <a:schemeClr val="accent2"/>
                </a:solidFill>
              </a:defRPr>
            </a:lvl2pPr>
            <a:lvl3pPr marL="514228" indent="0">
              <a:buNone/>
              <a:defRPr>
                <a:solidFill>
                  <a:schemeClr val="accent2"/>
                </a:solidFill>
              </a:defRPr>
            </a:lvl3pPr>
            <a:lvl4pPr marL="771343" indent="0">
              <a:buNone/>
              <a:defRPr>
                <a:solidFill>
                  <a:schemeClr val="accent2"/>
                </a:solidFill>
              </a:defRPr>
            </a:lvl4pPr>
            <a:lvl5pPr marL="1028456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7" name="Pulse"/>
          <p:cNvGrpSpPr/>
          <p:nvPr userDrawn="1"/>
        </p:nvGrpSpPr>
        <p:grpSpPr>
          <a:xfrm>
            <a:off x="6963033" y="940881"/>
            <a:ext cx="5230670" cy="5298286"/>
            <a:chOff x="8751888" y="3030538"/>
            <a:chExt cx="3446462" cy="3490913"/>
          </a:xfrm>
          <a:solidFill>
            <a:schemeClr val="bg2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sp>
        <p:nvSpPr>
          <p:cNvPr id="4" name="Logotype">
            <a:extLst>
              <a:ext uri="{FF2B5EF4-FFF2-40B4-BE49-F238E27FC236}">
                <a16:creationId xmlns:a16="http://schemas.microsoft.com/office/drawing/2014/main" id="{F2A1CFCF-C62A-1DF6-FB43-F82B74AA7311}"/>
              </a:ext>
            </a:extLst>
          </p:cNvPr>
          <p:cNvSpPr>
            <a:spLocks noChangeAspect="1"/>
          </p:cNvSpPr>
          <p:nvPr userDrawn="1"/>
        </p:nvSpPr>
        <p:spPr>
          <a:xfrm>
            <a:off x="641183" y="530768"/>
            <a:ext cx="1385639" cy="288790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2114501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Pink">
    <p:bg>
      <p:bgPr>
        <a:solidFill>
          <a:srgbClr val="FDEC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3999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546E101-B12A-350C-C307-F9B978F274A5}"/>
              </a:ext>
            </a:extLst>
          </p:cNvPr>
          <p:cNvSpPr/>
          <p:nvPr userDrawn="1"/>
        </p:nvSpPr>
        <p:spPr>
          <a:xfrm>
            <a:off x="8187421" y="0"/>
            <a:ext cx="4009356" cy="6858000"/>
          </a:xfrm>
          <a:prstGeom prst="rect">
            <a:avLst/>
          </a:prstGeom>
          <a:solidFill>
            <a:srgbClr val="E5F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7831" y="1331692"/>
            <a:ext cx="7198125" cy="442697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24A7ADA-849C-17AB-9B33-51D812A2899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500437" y="1331692"/>
            <a:ext cx="3051968" cy="442697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9700100-9CEE-97C9-FAD1-B0EFCC9E31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00399" y="360001"/>
            <a:ext cx="3052005" cy="719833"/>
          </a:xfrm>
        </p:spPr>
        <p:txBody>
          <a:bodyPr anchor="b" anchorCtr="0"/>
          <a:lstStyle>
            <a:lvl1pPr marL="0" indent="0">
              <a:buNone/>
              <a:defRPr b="1">
                <a:latin typeface="+mj-lt"/>
              </a:defRPr>
            </a:lvl1pPr>
            <a:lvl2pPr marL="257114" indent="0">
              <a:buNone/>
              <a:defRPr b="1">
                <a:latin typeface="+mj-lt"/>
              </a:defRPr>
            </a:lvl2pPr>
            <a:lvl3pPr marL="514228" indent="0">
              <a:buNone/>
              <a:defRPr b="1">
                <a:latin typeface="+mj-lt"/>
              </a:defRPr>
            </a:lvl3pPr>
            <a:lvl4pPr marL="771343" indent="0">
              <a:buNone/>
              <a:defRPr b="1">
                <a:latin typeface="+mj-lt"/>
              </a:defRPr>
            </a:lvl4pPr>
            <a:lvl5pPr marL="1028456" indent="0">
              <a:buNone/>
              <a:defRPr b="1">
                <a:latin typeface="+mj-lt"/>
              </a:defRPr>
            </a:lvl5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16" name="Logotype, static">
            <a:extLst>
              <a:ext uri="{FF2B5EF4-FFF2-40B4-BE49-F238E27FC236}">
                <a16:creationId xmlns:a16="http://schemas.microsoft.com/office/drawing/2014/main" id="{657B27D4-ED75-46A9-0AD9-FAE61A5E0E87}"/>
              </a:ext>
            </a:extLst>
          </p:cNvPr>
          <p:cNvSpPr>
            <a:spLocks noChangeAspect="1"/>
          </p:cNvSpPr>
          <p:nvPr userDrawn="1"/>
        </p:nvSpPr>
        <p:spPr>
          <a:xfrm>
            <a:off x="10686776" y="6387892"/>
            <a:ext cx="863775" cy="180025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rgbClr val="0000A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3787369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832" y="360000"/>
            <a:ext cx="7198125" cy="7200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7832" y="1331692"/>
            <a:ext cx="5362603" cy="4426975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0388" y="1331692"/>
            <a:ext cx="5362603" cy="4426975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4262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832" y="360000"/>
            <a:ext cx="7198125" cy="7200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7831" y="1331692"/>
            <a:ext cx="3491091" cy="4426975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58465" y="1331692"/>
            <a:ext cx="3491091" cy="4426975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8065500" y="1331692"/>
            <a:ext cx="3491091" cy="4426975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7489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832" y="360000"/>
            <a:ext cx="7198125" cy="7200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2802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4937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and Text Box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-1" y="0"/>
            <a:ext cx="8180749" cy="6857999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501039" y="359917"/>
            <a:ext cx="3051952" cy="719833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B1799A-498A-8A7B-92F2-75CA3D939A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500437" y="1331692"/>
            <a:ext cx="3051968" cy="4426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Logotype, static">
            <a:extLst>
              <a:ext uri="{FF2B5EF4-FFF2-40B4-BE49-F238E27FC236}">
                <a16:creationId xmlns:a16="http://schemas.microsoft.com/office/drawing/2014/main" id="{C6A38777-D9B2-35D0-58CA-0DC04C032ECA}"/>
              </a:ext>
            </a:extLst>
          </p:cNvPr>
          <p:cNvSpPr>
            <a:spLocks noChangeAspect="1"/>
          </p:cNvSpPr>
          <p:nvPr userDrawn="1"/>
        </p:nvSpPr>
        <p:spPr>
          <a:xfrm>
            <a:off x="10686776" y="6387892"/>
            <a:ext cx="863775" cy="180025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64508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and Heading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anchor="ctr" anchorCtr="0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7832" y="359917"/>
            <a:ext cx="7198125" cy="971775"/>
          </a:xfrm>
        </p:spPr>
        <p:txBody>
          <a:bodyPr>
            <a:noAutofit/>
          </a:bodyPr>
          <a:lstStyle>
            <a:lvl1pPr>
              <a:defRPr sz="2999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7832" y="1510133"/>
            <a:ext cx="7198125" cy="685084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544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Logotype, static">
            <a:extLst>
              <a:ext uri="{FF2B5EF4-FFF2-40B4-BE49-F238E27FC236}">
                <a16:creationId xmlns:a16="http://schemas.microsoft.com/office/drawing/2014/main" id="{217402D2-E40B-9ED9-450B-C9603CAF484D}"/>
              </a:ext>
            </a:extLst>
          </p:cNvPr>
          <p:cNvSpPr>
            <a:spLocks noChangeAspect="1"/>
          </p:cNvSpPr>
          <p:nvPr userDrawn="1"/>
        </p:nvSpPr>
        <p:spPr>
          <a:xfrm>
            <a:off x="10686776" y="6387892"/>
            <a:ext cx="863775" cy="180025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rgbClr val="0000A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3058655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832" y="360000"/>
            <a:ext cx="7198125" cy="7200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0388" y="1331692"/>
            <a:ext cx="5362603" cy="4430574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7832" y="1331692"/>
            <a:ext cx="5362603" cy="4426975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3464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831" y="360000"/>
            <a:ext cx="8061901" cy="7200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7832" y="1331692"/>
            <a:ext cx="5362603" cy="4426975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190388" y="1331692"/>
            <a:ext cx="5362603" cy="4426975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using Nordea Image Bank button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7308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ulse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647831" y="1338890"/>
            <a:ext cx="5434585" cy="2472627"/>
          </a:xfrm>
        </p:spPr>
        <p:txBody>
          <a:bodyPr>
            <a:noAutofit/>
          </a:bodyPr>
          <a:lstStyle>
            <a:lvl1pPr>
              <a:defRPr sz="3999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47831" y="4293806"/>
            <a:ext cx="5434585" cy="360000"/>
          </a:xfrm>
        </p:spPr>
        <p:txBody>
          <a:bodyPr>
            <a:noAutofit/>
          </a:bodyPr>
          <a:lstStyle>
            <a:lvl1pPr marL="0" indent="0" algn="l">
              <a:buNone/>
              <a:defRPr sz="1799" b="1">
                <a:solidFill>
                  <a:schemeClr val="bg1"/>
                </a:solidFill>
                <a:latin typeface="+mj-lt"/>
              </a:defRPr>
            </a:lvl1pPr>
            <a:lvl2pPr marL="544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47831" y="4772495"/>
            <a:ext cx="5434585" cy="21595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257114" indent="0">
              <a:buNone/>
              <a:defRPr>
                <a:solidFill>
                  <a:schemeClr val="accent2"/>
                </a:solidFill>
              </a:defRPr>
            </a:lvl2pPr>
            <a:lvl3pPr marL="514228" indent="0">
              <a:buNone/>
              <a:defRPr>
                <a:solidFill>
                  <a:schemeClr val="accent2"/>
                </a:solidFill>
              </a:defRPr>
            </a:lvl3pPr>
            <a:lvl4pPr marL="771343" indent="0">
              <a:buNone/>
              <a:defRPr>
                <a:solidFill>
                  <a:schemeClr val="accent2"/>
                </a:solidFill>
              </a:defRPr>
            </a:lvl4pPr>
            <a:lvl5pPr marL="1028456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47831" y="5024437"/>
            <a:ext cx="5434585" cy="21595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257114" indent="0">
              <a:buNone/>
              <a:defRPr>
                <a:solidFill>
                  <a:schemeClr val="accent2"/>
                </a:solidFill>
              </a:defRPr>
            </a:lvl2pPr>
            <a:lvl3pPr marL="514228" indent="0">
              <a:buNone/>
              <a:defRPr>
                <a:solidFill>
                  <a:schemeClr val="accent2"/>
                </a:solidFill>
              </a:defRPr>
            </a:lvl3pPr>
            <a:lvl4pPr marL="771343" indent="0">
              <a:buNone/>
              <a:defRPr>
                <a:solidFill>
                  <a:schemeClr val="accent2"/>
                </a:solidFill>
              </a:defRPr>
            </a:lvl4pPr>
            <a:lvl5pPr marL="1028456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26425AB6-E925-98AD-F161-922D2FCEC4B1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6963032" y="940881"/>
            <a:ext cx="5230670" cy="5298286"/>
          </a:xfrm>
          <a:custGeom>
            <a:avLst/>
            <a:gdLst>
              <a:gd name="connsiteX0" fmla="*/ 5232032 w 5232032"/>
              <a:gd name="connsiteY0" fmla="*/ 2308746 h 5299513"/>
              <a:gd name="connsiteX1" fmla="*/ 5232032 w 5232032"/>
              <a:gd name="connsiteY1" fmla="*/ 2990767 h 5299513"/>
              <a:gd name="connsiteX2" fmla="*/ 5019955 w 5232032"/>
              <a:gd name="connsiteY2" fmla="*/ 2784240 h 5299513"/>
              <a:gd name="connsiteX3" fmla="*/ 5019955 w 5232032"/>
              <a:gd name="connsiteY3" fmla="*/ 2510471 h 5299513"/>
              <a:gd name="connsiteX4" fmla="*/ 5232032 w 5232032"/>
              <a:gd name="connsiteY4" fmla="*/ 2308746 h 5299513"/>
              <a:gd name="connsiteX5" fmla="*/ 201232 w 5232032"/>
              <a:gd name="connsiteY5" fmla="*/ 2308746 h 5299513"/>
              <a:gd name="connsiteX6" fmla="*/ 402465 w 5232032"/>
              <a:gd name="connsiteY6" fmla="*/ 2510471 h 5299513"/>
              <a:gd name="connsiteX7" fmla="*/ 402465 w 5232032"/>
              <a:gd name="connsiteY7" fmla="*/ 2784240 h 5299513"/>
              <a:gd name="connsiteX8" fmla="*/ 201232 w 5232032"/>
              <a:gd name="connsiteY8" fmla="*/ 2990767 h 5299513"/>
              <a:gd name="connsiteX9" fmla="*/ 0 w 5232032"/>
              <a:gd name="connsiteY9" fmla="*/ 2784240 h 5299513"/>
              <a:gd name="connsiteX10" fmla="*/ 0 w 5232032"/>
              <a:gd name="connsiteY10" fmla="*/ 2510471 h 5299513"/>
              <a:gd name="connsiteX11" fmla="*/ 201232 w 5232032"/>
              <a:gd name="connsiteY11" fmla="*/ 2308746 h 5299513"/>
              <a:gd name="connsiteX12" fmla="*/ 4416260 w 5232032"/>
              <a:gd name="connsiteY12" fmla="*/ 2275007 h 5299513"/>
              <a:gd name="connsiteX13" fmla="*/ 4757270 w 5232032"/>
              <a:gd name="connsiteY13" fmla="*/ 2615289 h 5299513"/>
              <a:gd name="connsiteX14" fmla="*/ 4757270 w 5232032"/>
              <a:gd name="connsiteY14" fmla="*/ 3631341 h 5299513"/>
              <a:gd name="connsiteX15" fmla="*/ 4416260 w 5232032"/>
              <a:gd name="connsiteY15" fmla="*/ 3971622 h 5299513"/>
              <a:gd name="connsiteX16" fmla="*/ 4075249 w 5232032"/>
              <a:gd name="connsiteY16" fmla="*/ 3631341 h 5299513"/>
              <a:gd name="connsiteX17" fmla="*/ 4075249 w 5232032"/>
              <a:gd name="connsiteY17" fmla="*/ 2615289 h 5299513"/>
              <a:gd name="connsiteX18" fmla="*/ 4416260 w 5232032"/>
              <a:gd name="connsiteY18" fmla="*/ 2275007 h 5299513"/>
              <a:gd name="connsiteX19" fmla="*/ 3308894 w 5232032"/>
              <a:gd name="connsiteY19" fmla="*/ 1494178 h 5299513"/>
              <a:gd name="connsiteX20" fmla="*/ 3735444 w 5232032"/>
              <a:gd name="connsiteY20" fmla="*/ 1915928 h 5299513"/>
              <a:gd name="connsiteX21" fmla="*/ 3735444 w 5232032"/>
              <a:gd name="connsiteY21" fmla="*/ 4872971 h 5299513"/>
              <a:gd name="connsiteX22" fmla="*/ 3308894 w 5232032"/>
              <a:gd name="connsiteY22" fmla="*/ 5299513 h 5299513"/>
              <a:gd name="connsiteX23" fmla="*/ 2887137 w 5232032"/>
              <a:gd name="connsiteY23" fmla="*/ 4872971 h 5299513"/>
              <a:gd name="connsiteX24" fmla="*/ 2887137 w 5232032"/>
              <a:gd name="connsiteY24" fmla="*/ 1915928 h 5299513"/>
              <a:gd name="connsiteX25" fmla="*/ 3308894 w 5232032"/>
              <a:gd name="connsiteY25" fmla="*/ 1494178 h 5299513"/>
              <a:gd name="connsiteX26" fmla="*/ 1015801 w 5232032"/>
              <a:gd name="connsiteY26" fmla="*/ 1323071 h 5299513"/>
              <a:gd name="connsiteX27" fmla="*/ 1356811 w 5232032"/>
              <a:gd name="connsiteY27" fmla="*/ 1663358 h 5299513"/>
              <a:gd name="connsiteX28" fmla="*/ 1356811 w 5232032"/>
              <a:gd name="connsiteY28" fmla="*/ 2684219 h 5299513"/>
              <a:gd name="connsiteX29" fmla="*/ 1015801 w 5232032"/>
              <a:gd name="connsiteY29" fmla="*/ 3024506 h 5299513"/>
              <a:gd name="connsiteX30" fmla="*/ 674790 w 5232032"/>
              <a:gd name="connsiteY30" fmla="*/ 2684219 h 5299513"/>
              <a:gd name="connsiteX31" fmla="*/ 674790 w 5232032"/>
              <a:gd name="connsiteY31" fmla="*/ 1663358 h 5299513"/>
              <a:gd name="connsiteX32" fmla="*/ 1015801 w 5232032"/>
              <a:gd name="connsiteY32" fmla="*/ 1323071 h 5299513"/>
              <a:gd name="connsiteX33" fmla="*/ 2119571 w 5232032"/>
              <a:gd name="connsiteY33" fmla="*/ 0 h 5299513"/>
              <a:gd name="connsiteX34" fmla="*/ 2547333 w 5232032"/>
              <a:gd name="connsiteY34" fmla="*/ 426543 h 5299513"/>
              <a:gd name="connsiteX35" fmla="*/ 2547333 w 5232032"/>
              <a:gd name="connsiteY35" fmla="*/ 3378793 h 5299513"/>
              <a:gd name="connsiteX36" fmla="*/ 2119571 w 5232032"/>
              <a:gd name="connsiteY36" fmla="*/ 3805335 h 5299513"/>
              <a:gd name="connsiteX37" fmla="*/ 1696615 w 5232032"/>
              <a:gd name="connsiteY37" fmla="*/ 3378793 h 5299513"/>
              <a:gd name="connsiteX38" fmla="*/ 1696615 w 5232032"/>
              <a:gd name="connsiteY38" fmla="*/ 426543 h 5299513"/>
              <a:gd name="connsiteX39" fmla="*/ 2119571 w 5232032"/>
              <a:gd name="connsiteY39" fmla="*/ 0 h 5299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232032" h="5299513">
                <a:moveTo>
                  <a:pt x="5232032" y="2308746"/>
                </a:moveTo>
                <a:lnTo>
                  <a:pt x="5232032" y="2990767"/>
                </a:lnTo>
                <a:cubicBezTo>
                  <a:pt x="5116354" y="2990767"/>
                  <a:pt x="5019955" y="2899511"/>
                  <a:pt x="5019955" y="2784240"/>
                </a:cubicBezTo>
                <a:cubicBezTo>
                  <a:pt x="5019955" y="2784240"/>
                  <a:pt x="5019955" y="2784240"/>
                  <a:pt x="5019955" y="2510471"/>
                </a:cubicBezTo>
                <a:cubicBezTo>
                  <a:pt x="5019955" y="2400002"/>
                  <a:pt x="5116354" y="2308746"/>
                  <a:pt x="5232032" y="2308746"/>
                </a:cubicBezTo>
                <a:close/>
                <a:moveTo>
                  <a:pt x="201232" y="2308746"/>
                </a:moveTo>
                <a:cubicBezTo>
                  <a:pt x="311431" y="2308746"/>
                  <a:pt x="402465" y="2400002"/>
                  <a:pt x="402465" y="2510471"/>
                </a:cubicBezTo>
                <a:cubicBezTo>
                  <a:pt x="402465" y="2784240"/>
                  <a:pt x="402465" y="2784240"/>
                  <a:pt x="402465" y="2784240"/>
                </a:cubicBezTo>
                <a:cubicBezTo>
                  <a:pt x="402465" y="2899511"/>
                  <a:pt x="311431" y="2990767"/>
                  <a:pt x="201232" y="2990767"/>
                </a:cubicBezTo>
                <a:cubicBezTo>
                  <a:pt x="86242" y="2990767"/>
                  <a:pt x="0" y="2899511"/>
                  <a:pt x="0" y="2784240"/>
                </a:cubicBezTo>
                <a:cubicBezTo>
                  <a:pt x="0" y="2510471"/>
                  <a:pt x="0" y="2510471"/>
                  <a:pt x="0" y="2510471"/>
                </a:cubicBezTo>
                <a:cubicBezTo>
                  <a:pt x="0" y="2400002"/>
                  <a:pt x="86242" y="2308746"/>
                  <a:pt x="201232" y="2308746"/>
                </a:cubicBezTo>
                <a:close/>
                <a:moveTo>
                  <a:pt x="4416260" y="2275007"/>
                </a:moveTo>
                <a:cubicBezTo>
                  <a:pt x="4603575" y="2275007"/>
                  <a:pt x="4757270" y="2428373"/>
                  <a:pt x="4757270" y="2615289"/>
                </a:cubicBezTo>
                <a:cubicBezTo>
                  <a:pt x="4757270" y="3631341"/>
                  <a:pt x="4757270" y="3631341"/>
                  <a:pt x="4757270" y="3631341"/>
                </a:cubicBezTo>
                <a:cubicBezTo>
                  <a:pt x="4757270" y="3818256"/>
                  <a:pt x="4603575" y="3971622"/>
                  <a:pt x="4416260" y="3971622"/>
                </a:cubicBezTo>
                <a:cubicBezTo>
                  <a:pt x="4228944" y="3971622"/>
                  <a:pt x="4075249" y="3818256"/>
                  <a:pt x="4075249" y="3631341"/>
                </a:cubicBezTo>
                <a:cubicBezTo>
                  <a:pt x="4075249" y="2615289"/>
                  <a:pt x="4075249" y="2615289"/>
                  <a:pt x="4075249" y="2615289"/>
                </a:cubicBezTo>
                <a:cubicBezTo>
                  <a:pt x="4075249" y="2428373"/>
                  <a:pt x="4228944" y="2275007"/>
                  <a:pt x="4416260" y="2275007"/>
                </a:cubicBezTo>
                <a:close/>
                <a:moveTo>
                  <a:pt x="3308894" y="1494178"/>
                </a:moveTo>
                <a:cubicBezTo>
                  <a:pt x="3543736" y="1494178"/>
                  <a:pt x="3735444" y="1685883"/>
                  <a:pt x="3735444" y="1915928"/>
                </a:cubicBezTo>
                <a:cubicBezTo>
                  <a:pt x="3735444" y="4872971"/>
                  <a:pt x="3735444" y="4872971"/>
                  <a:pt x="3735444" y="4872971"/>
                </a:cubicBezTo>
                <a:cubicBezTo>
                  <a:pt x="3735444" y="5107809"/>
                  <a:pt x="3543736" y="5299513"/>
                  <a:pt x="3308894" y="5299513"/>
                </a:cubicBezTo>
                <a:cubicBezTo>
                  <a:pt x="3078845" y="5299513"/>
                  <a:pt x="2887137" y="5107809"/>
                  <a:pt x="2887137" y="4872971"/>
                </a:cubicBezTo>
                <a:cubicBezTo>
                  <a:pt x="2887137" y="1915928"/>
                  <a:pt x="2887137" y="1915928"/>
                  <a:pt x="2887137" y="1915928"/>
                </a:cubicBezTo>
                <a:cubicBezTo>
                  <a:pt x="2887137" y="1685883"/>
                  <a:pt x="3078845" y="1494178"/>
                  <a:pt x="3308894" y="1494178"/>
                </a:cubicBezTo>
                <a:close/>
                <a:moveTo>
                  <a:pt x="1015801" y="1323071"/>
                </a:moveTo>
                <a:cubicBezTo>
                  <a:pt x="1203116" y="1323071"/>
                  <a:pt x="1356811" y="1476440"/>
                  <a:pt x="1356811" y="1663358"/>
                </a:cubicBezTo>
                <a:cubicBezTo>
                  <a:pt x="1356811" y="2684219"/>
                  <a:pt x="1356811" y="2684219"/>
                  <a:pt x="1356811" y="2684219"/>
                </a:cubicBezTo>
                <a:cubicBezTo>
                  <a:pt x="1356811" y="2871137"/>
                  <a:pt x="1203116" y="3024506"/>
                  <a:pt x="1015801" y="3024506"/>
                </a:cubicBezTo>
                <a:cubicBezTo>
                  <a:pt x="828485" y="3024506"/>
                  <a:pt x="674790" y="2871137"/>
                  <a:pt x="674790" y="2684219"/>
                </a:cubicBezTo>
                <a:cubicBezTo>
                  <a:pt x="674790" y="1663358"/>
                  <a:pt x="674790" y="1663358"/>
                  <a:pt x="674790" y="1663358"/>
                </a:cubicBezTo>
                <a:cubicBezTo>
                  <a:pt x="674790" y="1476440"/>
                  <a:pt x="828485" y="1323071"/>
                  <a:pt x="1015801" y="1323071"/>
                </a:cubicBezTo>
                <a:close/>
                <a:moveTo>
                  <a:pt x="2119571" y="0"/>
                </a:moveTo>
                <a:cubicBezTo>
                  <a:pt x="2355080" y="0"/>
                  <a:pt x="2547333" y="191705"/>
                  <a:pt x="2547333" y="426543"/>
                </a:cubicBezTo>
                <a:cubicBezTo>
                  <a:pt x="2547333" y="3378793"/>
                  <a:pt x="2547333" y="3378793"/>
                  <a:pt x="2547333" y="3378793"/>
                </a:cubicBezTo>
                <a:cubicBezTo>
                  <a:pt x="2547333" y="3613631"/>
                  <a:pt x="2355080" y="3805335"/>
                  <a:pt x="2119571" y="3805335"/>
                </a:cubicBezTo>
                <a:cubicBezTo>
                  <a:pt x="1888868" y="3805335"/>
                  <a:pt x="1696615" y="3613631"/>
                  <a:pt x="1696615" y="3378793"/>
                </a:cubicBezTo>
                <a:cubicBezTo>
                  <a:pt x="1696615" y="426543"/>
                  <a:pt x="1696615" y="426543"/>
                  <a:pt x="1696615" y="426543"/>
                </a:cubicBezTo>
                <a:cubicBezTo>
                  <a:pt x="1696615" y="191705"/>
                  <a:pt x="1888868" y="0"/>
                  <a:pt x="2119571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5" name="Logotype">
            <a:extLst>
              <a:ext uri="{FF2B5EF4-FFF2-40B4-BE49-F238E27FC236}">
                <a16:creationId xmlns:a16="http://schemas.microsoft.com/office/drawing/2014/main" id="{02C27998-93A5-61D8-9017-E05F946896C7}"/>
              </a:ext>
            </a:extLst>
          </p:cNvPr>
          <p:cNvSpPr>
            <a:spLocks noChangeAspect="1"/>
          </p:cNvSpPr>
          <p:nvPr userDrawn="1"/>
        </p:nvSpPr>
        <p:spPr>
          <a:xfrm>
            <a:off x="641183" y="530768"/>
            <a:ext cx="1385639" cy="288790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355393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831" y="360000"/>
            <a:ext cx="8061901" cy="7200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7831" y="1331692"/>
            <a:ext cx="3491091" cy="4426975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8065500" y="1331692"/>
            <a:ext cx="3491091" cy="2123508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5"/>
          </p:nvPr>
        </p:nvSpPr>
        <p:spPr>
          <a:xfrm>
            <a:off x="4358465" y="1331692"/>
            <a:ext cx="3491091" cy="4426975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8065500" y="3635158"/>
            <a:ext cx="3491091" cy="2123508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9643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7831" y="1979542"/>
            <a:ext cx="10905160" cy="3779125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95950" y="359917"/>
            <a:ext cx="7198125" cy="971775"/>
          </a:xfrm>
        </p:spPr>
        <p:txBody>
          <a:bodyPr>
            <a:noAutofit/>
          </a:bodyPr>
          <a:lstStyle>
            <a:lvl1pPr algn="ctr">
              <a:defRPr sz="2999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495950" y="1485234"/>
            <a:ext cx="7198125" cy="360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rgbClr val="8B8A8D"/>
                </a:solidFill>
                <a:latin typeface="+mj-lt"/>
              </a:defRPr>
            </a:lvl1pPr>
            <a:lvl2pPr marL="257114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228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343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456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8342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1531" y="1616886"/>
            <a:ext cx="8400000" cy="1842019"/>
          </a:xfrm>
        </p:spPr>
        <p:txBody>
          <a:bodyPr anchor="b" anchorCtr="0">
            <a:noAutofit/>
          </a:bodyPr>
          <a:lstStyle>
            <a:lvl1pPr algn="ctr">
              <a:defRPr sz="3999" b="1" cap="none" baseline="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71531" y="3695024"/>
            <a:ext cx="8400000" cy="720000"/>
          </a:xfrm>
        </p:spPr>
        <p:txBody>
          <a:bodyPr anchor="t" anchorCtr="0">
            <a:noAutofit/>
          </a:bodyPr>
          <a:lstStyle>
            <a:lvl1pPr marL="0" indent="0" algn="ctr">
              <a:buNone/>
              <a:defRPr sz="1999" b="1">
                <a:solidFill>
                  <a:schemeClr val="bg1"/>
                </a:solidFill>
                <a:latin typeface="+mj-lt"/>
              </a:defRPr>
            </a:lvl1pPr>
            <a:lvl2pPr marL="544225" indent="0">
              <a:buNone/>
              <a:defRPr sz="2099">
                <a:solidFill>
                  <a:schemeClr val="tx1">
                    <a:tint val="75000"/>
                  </a:schemeClr>
                </a:solidFill>
              </a:defRPr>
            </a:lvl2pPr>
            <a:lvl3pPr marL="1088449" indent="0">
              <a:buNone/>
              <a:defRPr sz="1899">
                <a:solidFill>
                  <a:schemeClr val="tx1">
                    <a:tint val="75000"/>
                  </a:schemeClr>
                </a:solidFill>
              </a:defRPr>
            </a:lvl3pPr>
            <a:lvl4pPr marL="1632674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4pPr>
            <a:lvl5pPr marL="2176899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5pPr>
            <a:lvl6pPr marL="2721123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6pPr>
            <a:lvl7pPr marL="3265348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7pPr>
            <a:lvl8pPr marL="3809573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8pPr>
            <a:lvl9pPr marL="4353797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7" name="Pulse">
            <a:extLst>
              <a:ext uri="{FF2B5EF4-FFF2-40B4-BE49-F238E27FC236}">
                <a16:creationId xmlns:a16="http://schemas.microsoft.com/office/drawing/2014/main" id="{C68BB270-0180-6C0D-F35A-670CC32C7A89}"/>
              </a:ext>
            </a:extLst>
          </p:cNvPr>
          <p:cNvGrpSpPr/>
          <p:nvPr userDrawn="1"/>
        </p:nvGrpSpPr>
        <p:grpSpPr>
          <a:xfrm>
            <a:off x="9554960" y="3629467"/>
            <a:ext cx="2640213" cy="2674343"/>
            <a:chOff x="8751888" y="3030538"/>
            <a:chExt cx="3446462" cy="3490913"/>
          </a:xfrm>
          <a:solidFill>
            <a:schemeClr val="bg2"/>
          </a:soli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5AEDEF5-EF6A-3786-1898-11A7B4D67D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B48B5423-D79D-A870-B332-830D2CFD4B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A215C7BC-AD3A-FDA5-BBE4-2B07E79DE7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84170E1D-4367-1F8D-BE5A-1664CACBE6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EDD0BCCE-1016-C6D6-53F2-8F48EED1C2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E4A903BB-B536-932E-3CCC-D8E81E7871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</p:spTree>
    <p:extLst>
      <p:ext uri="{BB962C8B-B14F-4D97-AF65-F5344CB8AC3E}">
        <p14:creationId xmlns:p14="http://schemas.microsoft.com/office/powerpoint/2010/main" val="1867197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 Blue">
    <p:bg>
      <p:bgPr>
        <a:solidFill>
          <a:srgbClr val="E5F2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42940" y="2135331"/>
            <a:ext cx="5238081" cy="2449473"/>
          </a:xfrm>
        </p:spPr>
        <p:txBody>
          <a:bodyPr>
            <a:noAutofit/>
          </a:bodyPr>
          <a:lstStyle>
            <a:lvl1pPr algn="l">
              <a:defRPr sz="3999" b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/>
              <a:t>Click and type quote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242939" y="4800505"/>
            <a:ext cx="5238081" cy="539875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0">
                <a:solidFill>
                  <a:schemeClr val="accent1"/>
                </a:solidFill>
              </a:defRPr>
            </a:lvl1pPr>
            <a:lvl2pPr marL="257114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228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343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456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14" name="Quote">
            <a:extLst>
              <a:ext uri="{FF2B5EF4-FFF2-40B4-BE49-F238E27FC236}">
                <a16:creationId xmlns:a16="http://schemas.microsoft.com/office/drawing/2014/main" id="{36288991-A23D-A2A3-792C-522E9B30EAE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14279" y="639458"/>
            <a:ext cx="2291119" cy="1547642"/>
            <a:chOff x="2817011" y="265837"/>
            <a:chExt cx="2614377" cy="1765949"/>
          </a:xfrm>
          <a:solidFill>
            <a:schemeClr val="accent3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346AE66-BCC3-63A1-734B-97BBE232913B}"/>
                </a:ext>
              </a:extLst>
            </p:cNvPr>
            <p:cNvSpPr/>
            <p:nvPr/>
          </p:nvSpPr>
          <p:spPr>
            <a:xfrm>
              <a:off x="2817011" y="265837"/>
              <a:ext cx="1236586" cy="1765949"/>
            </a:xfrm>
            <a:custGeom>
              <a:avLst/>
              <a:gdLst>
                <a:gd name="connsiteX0" fmla="*/ 1212545 w 1236586"/>
                <a:gd name="connsiteY0" fmla="*/ 482239 h 1765949"/>
                <a:gd name="connsiteX1" fmla="*/ 933272 w 1236586"/>
                <a:gd name="connsiteY1" fmla="*/ 98000 h 1765949"/>
                <a:gd name="connsiteX2" fmla="*/ 391109 w 1236586"/>
                <a:gd name="connsiteY2" fmla="*/ 29611 h 1765949"/>
                <a:gd name="connsiteX3" fmla="*/ 41732 w 1236586"/>
                <a:gd name="connsiteY3" fmla="*/ 331839 h 1765949"/>
                <a:gd name="connsiteX4" fmla="*/ 76879 w 1236586"/>
                <a:gd name="connsiteY4" fmla="*/ 772275 h 1765949"/>
                <a:gd name="connsiteX5" fmla="*/ 291287 w 1236586"/>
                <a:gd name="connsiteY5" fmla="*/ 947249 h 1765949"/>
                <a:gd name="connsiteX6" fmla="*/ 598373 w 1236586"/>
                <a:gd name="connsiteY6" fmla="*/ 984683 h 1765949"/>
                <a:gd name="connsiteX7" fmla="*/ 415016 w 1236586"/>
                <a:gd name="connsiteY7" fmla="*/ 1376636 h 1765949"/>
                <a:gd name="connsiteX8" fmla="*/ 197561 w 1236586"/>
                <a:gd name="connsiteY8" fmla="*/ 1504938 h 1765949"/>
                <a:gd name="connsiteX9" fmla="*/ 264902 w 1236586"/>
                <a:gd name="connsiteY9" fmla="*/ 1643717 h 1765949"/>
                <a:gd name="connsiteX10" fmla="*/ 308146 w 1236586"/>
                <a:gd name="connsiteY10" fmla="*/ 1732871 h 1765949"/>
                <a:gd name="connsiteX11" fmla="*/ 324338 w 1236586"/>
                <a:gd name="connsiteY11" fmla="*/ 1765733 h 1765949"/>
                <a:gd name="connsiteX12" fmla="*/ 338150 w 1236586"/>
                <a:gd name="connsiteY12" fmla="*/ 1762494 h 1765949"/>
                <a:gd name="connsiteX13" fmla="*/ 371011 w 1236586"/>
                <a:gd name="connsiteY13" fmla="*/ 1753731 h 1765949"/>
                <a:gd name="connsiteX14" fmla="*/ 481406 w 1236586"/>
                <a:gd name="connsiteY14" fmla="*/ 1716965 h 1765949"/>
                <a:gd name="connsiteX15" fmla="*/ 806780 w 1236586"/>
                <a:gd name="connsiteY15" fmla="*/ 1542086 h 1765949"/>
                <a:gd name="connsiteX16" fmla="*/ 1115771 w 1236586"/>
                <a:gd name="connsiteY16" fmla="*/ 1192518 h 1765949"/>
                <a:gd name="connsiteX17" fmla="*/ 1207592 w 1236586"/>
                <a:gd name="connsiteY17" fmla="*/ 937629 h 1765949"/>
                <a:gd name="connsiteX18" fmla="*/ 1229594 w 1236586"/>
                <a:gd name="connsiteY18" fmla="*/ 567869 h 1765949"/>
                <a:gd name="connsiteX19" fmla="*/ 1212545 w 1236586"/>
                <a:gd name="connsiteY19" fmla="*/ 482048 h 176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6586" h="1765949">
                  <a:moveTo>
                    <a:pt x="1212545" y="482239"/>
                  </a:moveTo>
                  <a:cubicBezTo>
                    <a:pt x="1179112" y="321743"/>
                    <a:pt x="1071098" y="183725"/>
                    <a:pt x="933272" y="98000"/>
                  </a:cubicBezTo>
                  <a:cubicBezTo>
                    <a:pt x="771347" y="-2774"/>
                    <a:pt x="572655" y="-26301"/>
                    <a:pt x="391109" y="29611"/>
                  </a:cubicBezTo>
                  <a:cubicBezTo>
                    <a:pt x="241185" y="75807"/>
                    <a:pt x="106978" y="188678"/>
                    <a:pt x="41732" y="331839"/>
                  </a:cubicBezTo>
                  <a:cubicBezTo>
                    <a:pt x="-23324" y="474524"/>
                    <a:pt x="-12847" y="642354"/>
                    <a:pt x="76879" y="772275"/>
                  </a:cubicBezTo>
                  <a:cubicBezTo>
                    <a:pt x="129838" y="848951"/>
                    <a:pt x="204038" y="912674"/>
                    <a:pt x="291287" y="947249"/>
                  </a:cubicBezTo>
                  <a:cubicBezTo>
                    <a:pt x="387299" y="985254"/>
                    <a:pt x="496169" y="997732"/>
                    <a:pt x="598373" y="984683"/>
                  </a:cubicBezTo>
                  <a:cubicBezTo>
                    <a:pt x="608183" y="1133082"/>
                    <a:pt x="523792" y="1282244"/>
                    <a:pt x="415016" y="1376636"/>
                  </a:cubicBezTo>
                  <a:cubicBezTo>
                    <a:pt x="351008" y="1432167"/>
                    <a:pt x="276047" y="1473791"/>
                    <a:pt x="197561" y="1504938"/>
                  </a:cubicBezTo>
                  <a:cubicBezTo>
                    <a:pt x="220040" y="1551230"/>
                    <a:pt x="242423" y="1597521"/>
                    <a:pt x="264902" y="1643717"/>
                  </a:cubicBezTo>
                  <a:cubicBezTo>
                    <a:pt x="279285" y="1673435"/>
                    <a:pt x="293763" y="1703153"/>
                    <a:pt x="308146" y="1732871"/>
                  </a:cubicBezTo>
                  <a:cubicBezTo>
                    <a:pt x="310908" y="1738491"/>
                    <a:pt x="318433" y="1763161"/>
                    <a:pt x="324338" y="1765733"/>
                  </a:cubicBezTo>
                  <a:cubicBezTo>
                    <a:pt x="326815" y="1766876"/>
                    <a:pt x="335578" y="1763161"/>
                    <a:pt x="338150" y="1762494"/>
                  </a:cubicBezTo>
                  <a:cubicBezTo>
                    <a:pt x="349199" y="1759827"/>
                    <a:pt x="360152" y="1756874"/>
                    <a:pt x="371011" y="1753731"/>
                  </a:cubicBezTo>
                  <a:cubicBezTo>
                    <a:pt x="408349" y="1743158"/>
                    <a:pt x="445115" y="1730776"/>
                    <a:pt x="481406" y="1716965"/>
                  </a:cubicBezTo>
                  <a:cubicBezTo>
                    <a:pt x="596753" y="1673150"/>
                    <a:pt x="707148" y="1614952"/>
                    <a:pt x="806780" y="1542086"/>
                  </a:cubicBezTo>
                  <a:cubicBezTo>
                    <a:pt x="933462" y="1449407"/>
                    <a:pt x="1041952" y="1331583"/>
                    <a:pt x="1115771" y="1192518"/>
                  </a:cubicBezTo>
                  <a:cubicBezTo>
                    <a:pt x="1158252" y="1112413"/>
                    <a:pt x="1188923" y="1026307"/>
                    <a:pt x="1207592" y="937629"/>
                  </a:cubicBezTo>
                  <a:cubicBezTo>
                    <a:pt x="1232833" y="817709"/>
                    <a:pt x="1245406" y="689693"/>
                    <a:pt x="1229594" y="567869"/>
                  </a:cubicBezTo>
                  <a:cubicBezTo>
                    <a:pt x="1225784" y="538913"/>
                    <a:pt x="1220355" y="510147"/>
                    <a:pt x="1212545" y="482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75C50E4-F6DE-940D-DE91-F853D2F0A642}"/>
                </a:ext>
              </a:extLst>
            </p:cNvPr>
            <p:cNvSpPr/>
            <p:nvPr/>
          </p:nvSpPr>
          <p:spPr>
            <a:xfrm>
              <a:off x="4194682" y="265837"/>
              <a:ext cx="1236706" cy="1765949"/>
            </a:xfrm>
            <a:custGeom>
              <a:avLst/>
              <a:gdLst>
                <a:gd name="connsiteX0" fmla="*/ 1212665 w 1236706"/>
                <a:gd name="connsiteY0" fmla="*/ 482239 h 1765949"/>
                <a:gd name="connsiteX1" fmla="*/ 933392 w 1236706"/>
                <a:gd name="connsiteY1" fmla="*/ 98000 h 1765949"/>
                <a:gd name="connsiteX2" fmla="*/ 391229 w 1236706"/>
                <a:gd name="connsiteY2" fmla="*/ 29611 h 1765949"/>
                <a:gd name="connsiteX3" fmla="*/ 41852 w 1236706"/>
                <a:gd name="connsiteY3" fmla="*/ 331839 h 1765949"/>
                <a:gd name="connsiteX4" fmla="*/ 76999 w 1236706"/>
                <a:gd name="connsiteY4" fmla="*/ 772275 h 1765949"/>
                <a:gd name="connsiteX5" fmla="*/ 291407 w 1236706"/>
                <a:gd name="connsiteY5" fmla="*/ 947249 h 1765949"/>
                <a:gd name="connsiteX6" fmla="*/ 598493 w 1236706"/>
                <a:gd name="connsiteY6" fmla="*/ 984683 h 1765949"/>
                <a:gd name="connsiteX7" fmla="*/ 415137 w 1236706"/>
                <a:gd name="connsiteY7" fmla="*/ 1376636 h 1765949"/>
                <a:gd name="connsiteX8" fmla="*/ 197681 w 1236706"/>
                <a:gd name="connsiteY8" fmla="*/ 1504938 h 1765949"/>
                <a:gd name="connsiteX9" fmla="*/ 265023 w 1236706"/>
                <a:gd name="connsiteY9" fmla="*/ 1643717 h 1765949"/>
                <a:gd name="connsiteX10" fmla="*/ 308266 w 1236706"/>
                <a:gd name="connsiteY10" fmla="*/ 1732871 h 1765949"/>
                <a:gd name="connsiteX11" fmla="*/ 324459 w 1236706"/>
                <a:gd name="connsiteY11" fmla="*/ 1765733 h 1765949"/>
                <a:gd name="connsiteX12" fmla="*/ 338270 w 1236706"/>
                <a:gd name="connsiteY12" fmla="*/ 1762494 h 1765949"/>
                <a:gd name="connsiteX13" fmla="*/ 371131 w 1236706"/>
                <a:gd name="connsiteY13" fmla="*/ 1753731 h 1765949"/>
                <a:gd name="connsiteX14" fmla="*/ 481526 w 1236706"/>
                <a:gd name="connsiteY14" fmla="*/ 1716965 h 1765949"/>
                <a:gd name="connsiteX15" fmla="*/ 806900 w 1236706"/>
                <a:gd name="connsiteY15" fmla="*/ 1542086 h 1765949"/>
                <a:gd name="connsiteX16" fmla="*/ 1115891 w 1236706"/>
                <a:gd name="connsiteY16" fmla="*/ 1192518 h 1765949"/>
                <a:gd name="connsiteX17" fmla="*/ 1207712 w 1236706"/>
                <a:gd name="connsiteY17" fmla="*/ 937629 h 1765949"/>
                <a:gd name="connsiteX18" fmla="*/ 1229715 w 1236706"/>
                <a:gd name="connsiteY18" fmla="*/ 567869 h 1765949"/>
                <a:gd name="connsiteX19" fmla="*/ 1212665 w 1236706"/>
                <a:gd name="connsiteY19" fmla="*/ 482048 h 176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6706" h="1765949">
                  <a:moveTo>
                    <a:pt x="1212665" y="482239"/>
                  </a:moveTo>
                  <a:cubicBezTo>
                    <a:pt x="1179232" y="321743"/>
                    <a:pt x="1071219" y="183725"/>
                    <a:pt x="933392" y="98000"/>
                  </a:cubicBezTo>
                  <a:cubicBezTo>
                    <a:pt x="771467" y="-2774"/>
                    <a:pt x="572871" y="-26301"/>
                    <a:pt x="391229" y="29611"/>
                  </a:cubicBezTo>
                  <a:cubicBezTo>
                    <a:pt x="241305" y="75807"/>
                    <a:pt x="107193" y="188678"/>
                    <a:pt x="41852" y="331839"/>
                  </a:cubicBezTo>
                  <a:cubicBezTo>
                    <a:pt x="-23490" y="475000"/>
                    <a:pt x="-12726" y="642354"/>
                    <a:pt x="76999" y="772275"/>
                  </a:cubicBezTo>
                  <a:cubicBezTo>
                    <a:pt x="129958" y="848951"/>
                    <a:pt x="204158" y="912674"/>
                    <a:pt x="291407" y="947249"/>
                  </a:cubicBezTo>
                  <a:cubicBezTo>
                    <a:pt x="387419" y="985254"/>
                    <a:pt x="496290" y="997732"/>
                    <a:pt x="598493" y="984683"/>
                  </a:cubicBezTo>
                  <a:cubicBezTo>
                    <a:pt x="608304" y="1133082"/>
                    <a:pt x="523912" y="1282244"/>
                    <a:pt x="415137" y="1376636"/>
                  </a:cubicBezTo>
                  <a:cubicBezTo>
                    <a:pt x="351129" y="1432167"/>
                    <a:pt x="276167" y="1473791"/>
                    <a:pt x="197681" y="1504938"/>
                  </a:cubicBezTo>
                  <a:cubicBezTo>
                    <a:pt x="220160" y="1551230"/>
                    <a:pt x="242544" y="1597521"/>
                    <a:pt x="265023" y="1643717"/>
                  </a:cubicBezTo>
                  <a:cubicBezTo>
                    <a:pt x="279406" y="1673435"/>
                    <a:pt x="293884" y="1703153"/>
                    <a:pt x="308266" y="1732871"/>
                  </a:cubicBezTo>
                  <a:cubicBezTo>
                    <a:pt x="311028" y="1738491"/>
                    <a:pt x="318553" y="1763161"/>
                    <a:pt x="324459" y="1765733"/>
                  </a:cubicBezTo>
                  <a:cubicBezTo>
                    <a:pt x="326935" y="1766876"/>
                    <a:pt x="335698" y="1763161"/>
                    <a:pt x="338270" y="1762494"/>
                  </a:cubicBezTo>
                  <a:cubicBezTo>
                    <a:pt x="349319" y="1759827"/>
                    <a:pt x="360273" y="1756874"/>
                    <a:pt x="371131" y="1753731"/>
                  </a:cubicBezTo>
                  <a:cubicBezTo>
                    <a:pt x="408469" y="1743158"/>
                    <a:pt x="445236" y="1730776"/>
                    <a:pt x="481526" y="1716965"/>
                  </a:cubicBezTo>
                  <a:cubicBezTo>
                    <a:pt x="596874" y="1673150"/>
                    <a:pt x="707268" y="1614952"/>
                    <a:pt x="806900" y="1542086"/>
                  </a:cubicBezTo>
                  <a:cubicBezTo>
                    <a:pt x="933582" y="1449407"/>
                    <a:pt x="1042072" y="1331583"/>
                    <a:pt x="1115891" y="1192518"/>
                  </a:cubicBezTo>
                  <a:cubicBezTo>
                    <a:pt x="1158373" y="1112413"/>
                    <a:pt x="1189043" y="1026307"/>
                    <a:pt x="1207712" y="937629"/>
                  </a:cubicBezTo>
                  <a:cubicBezTo>
                    <a:pt x="1232953" y="817709"/>
                    <a:pt x="1245526" y="689693"/>
                    <a:pt x="1229715" y="567869"/>
                  </a:cubicBezTo>
                  <a:cubicBezTo>
                    <a:pt x="1225905" y="538913"/>
                    <a:pt x="1220475" y="510147"/>
                    <a:pt x="1212665" y="482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3353330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42940" y="2135331"/>
            <a:ext cx="5238081" cy="2449473"/>
          </a:xfrm>
        </p:spPr>
        <p:txBody>
          <a:bodyPr>
            <a:noAutofit/>
          </a:bodyPr>
          <a:lstStyle>
            <a:lvl1pPr algn="l">
              <a:defRPr sz="3999" b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GB"/>
              <a:t>Click and type quote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242939" y="4800505"/>
            <a:ext cx="5238081" cy="539875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0">
                <a:solidFill>
                  <a:schemeClr val="accent4"/>
                </a:solidFill>
              </a:defRPr>
            </a:lvl1pPr>
            <a:lvl2pPr marL="257114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228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343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456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14" name="Quote">
            <a:extLst>
              <a:ext uri="{FF2B5EF4-FFF2-40B4-BE49-F238E27FC236}">
                <a16:creationId xmlns:a16="http://schemas.microsoft.com/office/drawing/2014/main" id="{36288991-A23D-A2A3-792C-522E9B30EAE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14279" y="639458"/>
            <a:ext cx="2291119" cy="1547642"/>
            <a:chOff x="2817011" y="265837"/>
            <a:chExt cx="2614377" cy="1765949"/>
          </a:xfrm>
          <a:solidFill>
            <a:schemeClr val="bg2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346AE66-BCC3-63A1-734B-97BBE232913B}"/>
                </a:ext>
              </a:extLst>
            </p:cNvPr>
            <p:cNvSpPr/>
            <p:nvPr/>
          </p:nvSpPr>
          <p:spPr>
            <a:xfrm>
              <a:off x="2817011" y="265837"/>
              <a:ext cx="1236586" cy="1765949"/>
            </a:xfrm>
            <a:custGeom>
              <a:avLst/>
              <a:gdLst>
                <a:gd name="connsiteX0" fmla="*/ 1212545 w 1236586"/>
                <a:gd name="connsiteY0" fmla="*/ 482239 h 1765949"/>
                <a:gd name="connsiteX1" fmla="*/ 933272 w 1236586"/>
                <a:gd name="connsiteY1" fmla="*/ 98000 h 1765949"/>
                <a:gd name="connsiteX2" fmla="*/ 391109 w 1236586"/>
                <a:gd name="connsiteY2" fmla="*/ 29611 h 1765949"/>
                <a:gd name="connsiteX3" fmla="*/ 41732 w 1236586"/>
                <a:gd name="connsiteY3" fmla="*/ 331839 h 1765949"/>
                <a:gd name="connsiteX4" fmla="*/ 76879 w 1236586"/>
                <a:gd name="connsiteY4" fmla="*/ 772275 h 1765949"/>
                <a:gd name="connsiteX5" fmla="*/ 291287 w 1236586"/>
                <a:gd name="connsiteY5" fmla="*/ 947249 h 1765949"/>
                <a:gd name="connsiteX6" fmla="*/ 598373 w 1236586"/>
                <a:gd name="connsiteY6" fmla="*/ 984683 h 1765949"/>
                <a:gd name="connsiteX7" fmla="*/ 415016 w 1236586"/>
                <a:gd name="connsiteY7" fmla="*/ 1376636 h 1765949"/>
                <a:gd name="connsiteX8" fmla="*/ 197561 w 1236586"/>
                <a:gd name="connsiteY8" fmla="*/ 1504938 h 1765949"/>
                <a:gd name="connsiteX9" fmla="*/ 264902 w 1236586"/>
                <a:gd name="connsiteY9" fmla="*/ 1643717 h 1765949"/>
                <a:gd name="connsiteX10" fmla="*/ 308146 w 1236586"/>
                <a:gd name="connsiteY10" fmla="*/ 1732871 h 1765949"/>
                <a:gd name="connsiteX11" fmla="*/ 324338 w 1236586"/>
                <a:gd name="connsiteY11" fmla="*/ 1765733 h 1765949"/>
                <a:gd name="connsiteX12" fmla="*/ 338150 w 1236586"/>
                <a:gd name="connsiteY12" fmla="*/ 1762494 h 1765949"/>
                <a:gd name="connsiteX13" fmla="*/ 371011 w 1236586"/>
                <a:gd name="connsiteY13" fmla="*/ 1753731 h 1765949"/>
                <a:gd name="connsiteX14" fmla="*/ 481406 w 1236586"/>
                <a:gd name="connsiteY14" fmla="*/ 1716965 h 1765949"/>
                <a:gd name="connsiteX15" fmla="*/ 806780 w 1236586"/>
                <a:gd name="connsiteY15" fmla="*/ 1542086 h 1765949"/>
                <a:gd name="connsiteX16" fmla="*/ 1115771 w 1236586"/>
                <a:gd name="connsiteY16" fmla="*/ 1192518 h 1765949"/>
                <a:gd name="connsiteX17" fmla="*/ 1207592 w 1236586"/>
                <a:gd name="connsiteY17" fmla="*/ 937629 h 1765949"/>
                <a:gd name="connsiteX18" fmla="*/ 1229594 w 1236586"/>
                <a:gd name="connsiteY18" fmla="*/ 567869 h 1765949"/>
                <a:gd name="connsiteX19" fmla="*/ 1212545 w 1236586"/>
                <a:gd name="connsiteY19" fmla="*/ 482048 h 176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6586" h="1765949">
                  <a:moveTo>
                    <a:pt x="1212545" y="482239"/>
                  </a:moveTo>
                  <a:cubicBezTo>
                    <a:pt x="1179112" y="321743"/>
                    <a:pt x="1071098" y="183725"/>
                    <a:pt x="933272" y="98000"/>
                  </a:cubicBezTo>
                  <a:cubicBezTo>
                    <a:pt x="771347" y="-2774"/>
                    <a:pt x="572655" y="-26301"/>
                    <a:pt x="391109" y="29611"/>
                  </a:cubicBezTo>
                  <a:cubicBezTo>
                    <a:pt x="241185" y="75807"/>
                    <a:pt x="106978" y="188678"/>
                    <a:pt x="41732" y="331839"/>
                  </a:cubicBezTo>
                  <a:cubicBezTo>
                    <a:pt x="-23324" y="474524"/>
                    <a:pt x="-12847" y="642354"/>
                    <a:pt x="76879" y="772275"/>
                  </a:cubicBezTo>
                  <a:cubicBezTo>
                    <a:pt x="129838" y="848951"/>
                    <a:pt x="204038" y="912674"/>
                    <a:pt x="291287" y="947249"/>
                  </a:cubicBezTo>
                  <a:cubicBezTo>
                    <a:pt x="387299" y="985254"/>
                    <a:pt x="496169" y="997732"/>
                    <a:pt x="598373" y="984683"/>
                  </a:cubicBezTo>
                  <a:cubicBezTo>
                    <a:pt x="608183" y="1133082"/>
                    <a:pt x="523792" y="1282244"/>
                    <a:pt x="415016" y="1376636"/>
                  </a:cubicBezTo>
                  <a:cubicBezTo>
                    <a:pt x="351008" y="1432167"/>
                    <a:pt x="276047" y="1473791"/>
                    <a:pt x="197561" y="1504938"/>
                  </a:cubicBezTo>
                  <a:cubicBezTo>
                    <a:pt x="220040" y="1551230"/>
                    <a:pt x="242423" y="1597521"/>
                    <a:pt x="264902" y="1643717"/>
                  </a:cubicBezTo>
                  <a:cubicBezTo>
                    <a:pt x="279285" y="1673435"/>
                    <a:pt x="293763" y="1703153"/>
                    <a:pt x="308146" y="1732871"/>
                  </a:cubicBezTo>
                  <a:cubicBezTo>
                    <a:pt x="310908" y="1738491"/>
                    <a:pt x="318433" y="1763161"/>
                    <a:pt x="324338" y="1765733"/>
                  </a:cubicBezTo>
                  <a:cubicBezTo>
                    <a:pt x="326815" y="1766876"/>
                    <a:pt x="335578" y="1763161"/>
                    <a:pt x="338150" y="1762494"/>
                  </a:cubicBezTo>
                  <a:cubicBezTo>
                    <a:pt x="349199" y="1759827"/>
                    <a:pt x="360152" y="1756874"/>
                    <a:pt x="371011" y="1753731"/>
                  </a:cubicBezTo>
                  <a:cubicBezTo>
                    <a:pt x="408349" y="1743158"/>
                    <a:pt x="445115" y="1730776"/>
                    <a:pt x="481406" y="1716965"/>
                  </a:cubicBezTo>
                  <a:cubicBezTo>
                    <a:pt x="596753" y="1673150"/>
                    <a:pt x="707148" y="1614952"/>
                    <a:pt x="806780" y="1542086"/>
                  </a:cubicBezTo>
                  <a:cubicBezTo>
                    <a:pt x="933462" y="1449407"/>
                    <a:pt x="1041952" y="1331583"/>
                    <a:pt x="1115771" y="1192518"/>
                  </a:cubicBezTo>
                  <a:cubicBezTo>
                    <a:pt x="1158252" y="1112413"/>
                    <a:pt x="1188923" y="1026307"/>
                    <a:pt x="1207592" y="937629"/>
                  </a:cubicBezTo>
                  <a:cubicBezTo>
                    <a:pt x="1232833" y="817709"/>
                    <a:pt x="1245406" y="689693"/>
                    <a:pt x="1229594" y="567869"/>
                  </a:cubicBezTo>
                  <a:cubicBezTo>
                    <a:pt x="1225784" y="538913"/>
                    <a:pt x="1220355" y="510147"/>
                    <a:pt x="1212545" y="482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75C50E4-F6DE-940D-DE91-F853D2F0A642}"/>
                </a:ext>
              </a:extLst>
            </p:cNvPr>
            <p:cNvSpPr/>
            <p:nvPr/>
          </p:nvSpPr>
          <p:spPr>
            <a:xfrm>
              <a:off x="4194682" y="265837"/>
              <a:ext cx="1236706" cy="1765949"/>
            </a:xfrm>
            <a:custGeom>
              <a:avLst/>
              <a:gdLst>
                <a:gd name="connsiteX0" fmla="*/ 1212665 w 1236706"/>
                <a:gd name="connsiteY0" fmla="*/ 482239 h 1765949"/>
                <a:gd name="connsiteX1" fmla="*/ 933392 w 1236706"/>
                <a:gd name="connsiteY1" fmla="*/ 98000 h 1765949"/>
                <a:gd name="connsiteX2" fmla="*/ 391229 w 1236706"/>
                <a:gd name="connsiteY2" fmla="*/ 29611 h 1765949"/>
                <a:gd name="connsiteX3" fmla="*/ 41852 w 1236706"/>
                <a:gd name="connsiteY3" fmla="*/ 331839 h 1765949"/>
                <a:gd name="connsiteX4" fmla="*/ 76999 w 1236706"/>
                <a:gd name="connsiteY4" fmla="*/ 772275 h 1765949"/>
                <a:gd name="connsiteX5" fmla="*/ 291407 w 1236706"/>
                <a:gd name="connsiteY5" fmla="*/ 947249 h 1765949"/>
                <a:gd name="connsiteX6" fmla="*/ 598493 w 1236706"/>
                <a:gd name="connsiteY6" fmla="*/ 984683 h 1765949"/>
                <a:gd name="connsiteX7" fmla="*/ 415137 w 1236706"/>
                <a:gd name="connsiteY7" fmla="*/ 1376636 h 1765949"/>
                <a:gd name="connsiteX8" fmla="*/ 197681 w 1236706"/>
                <a:gd name="connsiteY8" fmla="*/ 1504938 h 1765949"/>
                <a:gd name="connsiteX9" fmla="*/ 265023 w 1236706"/>
                <a:gd name="connsiteY9" fmla="*/ 1643717 h 1765949"/>
                <a:gd name="connsiteX10" fmla="*/ 308266 w 1236706"/>
                <a:gd name="connsiteY10" fmla="*/ 1732871 h 1765949"/>
                <a:gd name="connsiteX11" fmla="*/ 324459 w 1236706"/>
                <a:gd name="connsiteY11" fmla="*/ 1765733 h 1765949"/>
                <a:gd name="connsiteX12" fmla="*/ 338270 w 1236706"/>
                <a:gd name="connsiteY12" fmla="*/ 1762494 h 1765949"/>
                <a:gd name="connsiteX13" fmla="*/ 371131 w 1236706"/>
                <a:gd name="connsiteY13" fmla="*/ 1753731 h 1765949"/>
                <a:gd name="connsiteX14" fmla="*/ 481526 w 1236706"/>
                <a:gd name="connsiteY14" fmla="*/ 1716965 h 1765949"/>
                <a:gd name="connsiteX15" fmla="*/ 806900 w 1236706"/>
                <a:gd name="connsiteY15" fmla="*/ 1542086 h 1765949"/>
                <a:gd name="connsiteX16" fmla="*/ 1115891 w 1236706"/>
                <a:gd name="connsiteY16" fmla="*/ 1192518 h 1765949"/>
                <a:gd name="connsiteX17" fmla="*/ 1207712 w 1236706"/>
                <a:gd name="connsiteY17" fmla="*/ 937629 h 1765949"/>
                <a:gd name="connsiteX18" fmla="*/ 1229715 w 1236706"/>
                <a:gd name="connsiteY18" fmla="*/ 567869 h 1765949"/>
                <a:gd name="connsiteX19" fmla="*/ 1212665 w 1236706"/>
                <a:gd name="connsiteY19" fmla="*/ 482048 h 176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6706" h="1765949">
                  <a:moveTo>
                    <a:pt x="1212665" y="482239"/>
                  </a:moveTo>
                  <a:cubicBezTo>
                    <a:pt x="1179232" y="321743"/>
                    <a:pt x="1071219" y="183725"/>
                    <a:pt x="933392" y="98000"/>
                  </a:cubicBezTo>
                  <a:cubicBezTo>
                    <a:pt x="771467" y="-2774"/>
                    <a:pt x="572871" y="-26301"/>
                    <a:pt x="391229" y="29611"/>
                  </a:cubicBezTo>
                  <a:cubicBezTo>
                    <a:pt x="241305" y="75807"/>
                    <a:pt x="107193" y="188678"/>
                    <a:pt x="41852" y="331839"/>
                  </a:cubicBezTo>
                  <a:cubicBezTo>
                    <a:pt x="-23490" y="475000"/>
                    <a:pt x="-12726" y="642354"/>
                    <a:pt x="76999" y="772275"/>
                  </a:cubicBezTo>
                  <a:cubicBezTo>
                    <a:pt x="129958" y="848951"/>
                    <a:pt x="204158" y="912674"/>
                    <a:pt x="291407" y="947249"/>
                  </a:cubicBezTo>
                  <a:cubicBezTo>
                    <a:pt x="387419" y="985254"/>
                    <a:pt x="496290" y="997732"/>
                    <a:pt x="598493" y="984683"/>
                  </a:cubicBezTo>
                  <a:cubicBezTo>
                    <a:pt x="608304" y="1133082"/>
                    <a:pt x="523912" y="1282244"/>
                    <a:pt x="415137" y="1376636"/>
                  </a:cubicBezTo>
                  <a:cubicBezTo>
                    <a:pt x="351129" y="1432167"/>
                    <a:pt x="276167" y="1473791"/>
                    <a:pt x="197681" y="1504938"/>
                  </a:cubicBezTo>
                  <a:cubicBezTo>
                    <a:pt x="220160" y="1551230"/>
                    <a:pt x="242544" y="1597521"/>
                    <a:pt x="265023" y="1643717"/>
                  </a:cubicBezTo>
                  <a:cubicBezTo>
                    <a:pt x="279406" y="1673435"/>
                    <a:pt x="293884" y="1703153"/>
                    <a:pt x="308266" y="1732871"/>
                  </a:cubicBezTo>
                  <a:cubicBezTo>
                    <a:pt x="311028" y="1738491"/>
                    <a:pt x="318553" y="1763161"/>
                    <a:pt x="324459" y="1765733"/>
                  </a:cubicBezTo>
                  <a:cubicBezTo>
                    <a:pt x="326935" y="1766876"/>
                    <a:pt x="335698" y="1763161"/>
                    <a:pt x="338270" y="1762494"/>
                  </a:cubicBezTo>
                  <a:cubicBezTo>
                    <a:pt x="349319" y="1759827"/>
                    <a:pt x="360273" y="1756874"/>
                    <a:pt x="371131" y="1753731"/>
                  </a:cubicBezTo>
                  <a:cubicBezTo>
                    <a:pt x="408469" y="1743158"/>
                    <a:pt x="445236" y="1730776"/>
                    <a:pt x="481526" y="1716965"/>
                  </a:cubicBezTo>
                  <a:cubicBezTo>
                    <a:pt x="596874" y="1673150"/>
                    <a:pt x="707268" y="1614952"/>
                    <a:pt x="806900" y="1542086"/>
                  </a:cubicBezTo>
                  <a:cubicBezTo>
                    <a:pt x="933582" y="1449407"/>
                    <a:pt x="1042072" y="1331583"/>
                    <a:pt x="1115891" y="1192518"/>
                  </a:cubicBezTo>
                  <a:cubicBezTo>
                    <a:pt x="1158373" y="1112413"/>
                    <a:pt x="1189043" y="1026307"/>
                    <a:pt x="1207712" y="937629"/>
                  </a:cubicBezTo>
                  <a:cubicBezTo>
                    <a:pt x="1232953" y="817709"/>
                    <a:pt x="1245526" y="689693"/>
                    <a:pt x="1229715" y="567869"/>
                  </a:cubicBezTo>
                  <a:cubicBezTo>
                    <a:pt x="1225905" y="538913"/>
                    <a:pt x="1220475" y="510147"/>
                    <a:pt x="1212665" y="482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99"/>
            </a:p>
          </p:txBody>
        </p:sp>
      </p:grpSp>
      <p:sp>
        <p:nvSpPr>
          <p:cNvPr id="15" name="Logotype, static">
            <a:extLst>
              <a:ext uri="{FF2B5EF4-FFF2-40B4-BE49-F238E27FC236}">
                <a16:creationId xmlns:a16="http://schemas.microsoft.com/office/drawing/2014/main" id="{ED491FC6-D7FC-0600-9C48-CD411A9E4887}"/>
              </a:ext>
            </a:extLst>
          </p:cNvPr>
          <p:cNvSpPr>
            <a:spLocks noChangeAspect="1"/>
          </p:cNvSpPr>
          <p:nvPr userDrawn="1"/>
        </p:nvSpPr>
        <p:spPr>
          <a:xfrm>
            <a:off x="10686776" y="6387892"/>
            <a:ext cx="863775" cy="180025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2343846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7831" y="1338890"/>
            <a:ext cx="5434585" cy="1301341"/>
          </a:xfrm>
        </p:spPr>
        <p:txBody>
          <a:bodyPr/>
          <a:lstStyle>
            <a:lvl1pPr>
              <a:defRPr sz="3999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7831" y="2760764"/>
            <a:ext cx="5434585" cy="107975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999" b="1">
                <a:solidFill>
                  <a:srgbClr val="FFFFFF"/>
                </a:solidFill>
                <a:latin typeface="+mj-lt"/>
              </a:defRPr>
            </a:lvl1pPr>
            <a:lvl2pPr marL="544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47831" y="4298050"/>
            <a:ext cx="5434585" cy="82549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050">
                <a:solidFill>
                  <a:schemeClr val="bg1"/>
                </a:solidFill>
              </a:defRPr>
            </a:lvl1pPr>
            <a:lvl2pPr marL="257114" indent="0">
              <a:buNone/>
              <a:defRPr sz="900">
                <a:solidFill>
                  <a:schemeClr val="bg1"/>
                </a:solidFill>
              </a:defRPr>
            </a:lvl2pPr>
            <a:lvl3pPr marL="514228" indent="0">
              <a:buNone/>
              <a:defRPr sz="900">
                <a:solidFill>
                  <a:schemeClr val="bg1"/>
                </a:solidFill>
              </a:defRPr>
            </a:lvl3pPr>
            <a:lvl4pPr marL="771343" indent="0">
              <a:buNone/>
              <a:defRPr sz="900">
                <a:solidFill>
                  <a:schemeClr val="bg1"/>
                </a:solidFill>
              </a:defRPr>
            </a:lvl4pPr>
            <a:lvl5pPr marL="1028456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sclaimer text</a:t>
            </a:r>
          </a:p>
        </p:txBody>
      </p:sp>
      <p:grpSp>
        <p:nvGrpSpPr>
          <p:cNvPr id="16" name="Pulse"/>
          <p:cNvGrpSpPr/>
          <p:nvPr userDrawn="1"/>
        </p:nvGrpSpPr>
        <p:grpSpPr>
          <a:xfrm>
            <a:off x="9554960" y="3629467"/>
            <a:ext cx="2640213" cy="2674343"/>
            <a:chOff x="8751888" y="3030538"/>
            <a:chExt cx="3446462" cy="3490913"/>
          </a:xfrm>
          <a:solidFill>
            <a:schemeClr val="bg2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4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5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6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7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sp>
        <p:nvSpPr>
          <p:cNvPr id="4" name="Logotype">
            <a:extLst>
              <a:ext uri="{FF2B5EF4-FFF2-40B4-BE49-F238E27FC236}">
                <a16:creationId xmlns:a16="http://schemas.microsoft.com/office/drawing/2014/main" id="{BC9B11D0-BD76-870A-786F-3ACEE61F6F86}"/>
              </a:ext>
            </a:extLst>
          </p:cNvPr>
          <p:cNvSpPr>
            <a:spLocks noChangeAspect="1"/>
          </p:cNvSpPr>
          <p:nvPr userDrawn="1"/>
        </p:nvSpPr>
        <p:spPr>
          <a:xfrm>
            <a:off x="641183" y="530768"/>
            <a:ext cx="1385639" cy="288790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3860977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GB" smtClean="0"/>
              <a:t>31/10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8670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CCBEBE5-23E8-A474-A967-418E450CCD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680675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CBEBE5-23E8-A474-A967-418E450CCD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7830" y="1337952"/>
            <a:ext cx="5434585" cy="2472277"/>
          </a:xfrm>
        </p:spPr>
        <p:txBody>
          <a:bodyPr vert="horz">
            <a:noAutofit/>
          </a:bodyPr>
          <a:lstStyle>
            <a:lvl1pPr rtl="0">
              <a:defRPr sz="3999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7831" y="4295182"/>
            <a:ext cx="5434585" cy="360000"/>
          </a:xfrm>
        </p:spPr>
        <p:txBody>
          <a:bodyPr>
            <a:noAutofit/>
          </a:bodyPr>
          <a:lstStyle>
            <a:lvl1pPr marL="0" indent="0" algn="l" rtl="0">
              <a:buNone/>
              <a:defRPr sz="1799" b="1">
                <a:solidFill>
                  <a:srgbClr val="FFFFFF"/>
                </a:solidFill>
                <a:latin typeface="+mj-lt"/>
              </a:defRPr>
            </a:lvl1pPr>
            <a:lvl2pPr marL="544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7831" y="4773443"/>
            <a:ext cx="5434585" cy="215950"/>
          </a:xfrm>
        </p:spPr>
        <p:txBody>
          <a:bodyPr>
            <a:noAutofit/>
          </a:bodyPr>
          <a:lstStyle>
            <a:lvl1pPr marL="0" indent="0" rtl="0">
              <a:buNone/>
              <a:defRPr sz="1400">
                <a:solidFill>
                  <a:srgbClr val="FFFFFF"/>
                </a:solidFill>
              </a:defRPr>
            </a:lvl1pPr>
            <a:lvl2pPr marL="257114" indent="0">
              <a:buNone/>
              <a:defRPr>
                <a:solidFill>
                  <a:schemeClr val="accent2"/>
                </a:solidFill>
              </a:defRPr>
            </a:lvl2pPr>
            <a:lvl3pPr marL="514228" indent="0">
              <a:buNone/>
              <a:defRPr>
                <a:solidFill>
                  <a:schemeClr val="accent2"/>
                </a:solidFill>
              </a:defRPr>
            </a:lvl3pPr>
            <a:lvl4pPr marL="771343" indent="0">
              <a:buNone/>
              <a:defRPr>
                <a:solidFill>
                  <a:schemeClr val="accent2"/>
                </a:solidFill>
              </a:defRPr>
            </a:lvl4pPr>
            <a:lvl5pPr marL="1028456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7831" y="5025384"/>
            <a:ext cx="5434585" cy="215950"/>
          </a:xfrm>
        </p:spPr>
        <p:txBody>
          <a:bodyPr>
            <a:noAutofit/>
          </a:bodyPr>
          <a:lstStyle>
            <a:lvl1pPr marL="0" indent="0" rtl="0">
              <a:buNone/>
              <a:defRPr sz="1400">
                <a:solidFill>
                  <a:srgbClr val="FFFFFF"/>
                </a:solidFill>
              </a:defRPr>
            </a:lvl1pPr>
            <a:lvl2pPr marL="257114" indent="0">
              <a:buNone/>
              <a:defRPr>
                <a:solidFill>
                  <a:schemeClr val="accent2"/>
                </a:solidFill>
              </a:defRPr>
            </a:lvl2pPr>
            <a:lvl3pPr marL="514228" indent="0">
              <a:buNone/>
              <a:defRPr>
                <a:solidFill>
                  <a:schemeClr val="accent2"/>
                </a:solidFill>
              </a:defRPr>
            </a:lvl3pPr>
            <a:lvl4pPr marL="771343" indent="0">
              <a:buNone/>
              <a:defRPr>
                <a:solidFill>
                  <a:schemeClr val="accent2"/>
                </a:solidFill>
              </a:defRPr>
            </a:lvl4pPr>
            <a:lvl5pPr marL="1028456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7" name="Pulse"/>
          <p:cNvGrpSpPr/>
          <p:nvPr userDrawn="1"/>
        </p:nvGrpSpPr>
        <p:grpSpPr>
          <a:xfrm>
            <a:off x="6963033" y="940881"/>
            <a:ext cx="5230670" cy="5298286"/>
            <a:chOff x="8751888" y="3030538"/>
            <a:chExt cx="3446462" cy="3490913"/>
          </a:xfrm>
          <a:solidFill>
            <a:schemeClr val="bg2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sz="1799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sz="1799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sz="1799"/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sz="1799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sz="1799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sz="1799"/>
            </a:p>
          </p:txBody>
        </p:sp>
      </p:grpSp>
      <p:sp>
        <p:nvSpPr>
          <p:cNvPr id="4" name="Logotype">
            <a:extLst>
              <a:ext uri="{FF2B5EF4-FFF2-40B4-BE49-F238E27FC236}">
                <a16:creationId xmlns:a16="http://schemas.microsoft.com/office/drawing/2014/main" id="{F2A1CFCF-C62A-1DF6-FB43-F82B74AA7311}"/>
              </a:ext>
            </a:extLst>
          </p:cNvPr>
          <p:cNvSpPr>
            <a:spLocks noChangeAspect="1"/>
          </p:cNvSpPr>
          <p:nvPr userDrawn="1"/>
        </p:nvSpPr>
        <p:spPr>
          <a:xfrm>
            <a:off x="641183" y="530768"/>
            <a:ext cx="1385639" cy="288790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2490304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ulse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FF6F8ED-A7EE-3B41-A436-056C6358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3809744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F6F8ED-A7EE-3B41-A436-056C6358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647831" y="1338890"/>
            <a:ext cx="5434585" cy="2472627"/>
          </a:xfrm>
        </p:spPr>
        <p:txBody>
          <a:bodyPr vert="horz">
            <a:noAutofit/>
          </a:bodyPr>
          <a:lstStyle>
            <a:lvl1pPr rtl="0">
              <a:defRPr sz="3999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47831" y="4293806"/>
            <a:ext cx="5434585" cy="360000"/>
          </a:xfrm>
        </p:spPr>
        <p:txBody>
          <a:bodyPr>
            <a:noAutofit/>
          </a:bodyPr>
          <a:lstStyle>
            <a:lvl1pPr marL="0" indent="0" algn="l" rtl="0">
              <a:buNone/>
              <a:defRPr sz="1799" b="1">
                <a:solidFill>
                  <a:schemeClr val="bg1"/>
                </a:solidFill>
                <a:latin typeface="+mj-lt"/>
              </a:defRPr>
            </a:lvl1pPr>
            <a:lvl2pPr marL="544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47831" y="4772495"/>
            <a:ext cx="5434585" cy="215950"/>
          </a:xfrm>
        </p:spPr>
        <p:txBody>
          <a:bodyPr>
            <a:noAutofit/>
          </a:bodyPr>
          <a:lstStyle>
            <a:lvl1pPr marL="0" indent="0" rtl="0">
              <a:buNone/>
              <a:defRPr sz="1400">
                <a:solidFill>
                  <a:schemeClr val="bg1"/>
                </a:solidFill>
              </a:defRPr>
            </a:lvl1pPr>
            <a:lvl2pPr marL="257114" indent="0">
              <a:buNone/>
              <a:defRPr>
                <a:solidFill>
                  <a:schemeClr val="accent2"/>
                </a:solidFill>
              </a:defRPr>
            </a:lvl2pPr>
            <a:lvl3pPr marL="514228" indent="0">
              <a:buNone/>
              <a:defRPr>
                <a:solidFill>
                  <a:schemeClr val="accent2"/>
                </a:solidFill>
              </a:defRPr>
            </a:lvl3pPr>
            <a:lvl4pPr marL="771343" indent="0">
              <a:buNone/>
              <a:defRPr>
                <a:solidFill>
                  <a:schemeClr val="accent2"/>
                </a:solidFill>
              </a:defRPr>
            </a:lvl4pPr>
            <a:lvl5pPr marL="1028456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47831" y="5024437"/>
            <a:ext cx="5434585" cy="215950"/>
          </a:xfrm>
        </p:spPr>
        <p:txBody>
          <a:bodyPr>
            <a:noAutofit/>
          </a:bodyPr>
          <a:lstStyle>
            <a:lvl1pPr marL="0" indent="0" rtl="0">
              <a:buNone/>
              <a:defRPr sz="1400">
                <a:solidFill>
                  <a:schemeClr val="bg1"/>
                </a:solidFill>
              </a:defRPr>
            </a:lvl1pPr>
            <a:lvl2pPr marL="257114" indent="0">
              <a:buNone/>
              <a:defRPr>
                <a:solidFill>
                  <a:schemeClr val="accent2"/>
                </a:solidFill>
              </a:defRPr>
            </a:lvl2pPr>
            <a:lvl3pPr marL="514228" indent="0">
              <a:buNone/>
              <a:defRPr>
                <a:solidFill>
                  <a:schemeClr val="accent2"/>
                </a:solidFill>
              </a:defRPr>
            </a:lvl3pPr>
            <a:lvl4pPr marL="771343" indent="0">
              <a:buNone/>
              <a:defRPr>
                <a:solidFill>
                  <a:schemeClr val="accent2"/>
                </a:solidFill>
              </a:defRPr>
            </a:lvl4pPr>
            <a:lvl5pPr marL="1028456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26425AB6-E925-98AD-F161-922D2FCEC4B1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6963032" y="940881"/>
            <a:ext cx="5230670" cy="5298286"/>
          </a:xfrm>
          <a:custGeom>
            <a:avLst/>
            <a:gdLst>
              <a:gd name="connsiteX0" fmla="*/ 5232032 w 5232032"/>
              <a:gd name="connsiteY0" fmla="*/ 2308746 h 5299513"/>
              <a:gd name="connsiteX1" fmla="*/ 5232032 w 5232032"/>
              <a:gd name="connsiteY1" fmla="*/ 2990767 h 5299513"/>
              <a:gd name="connsiteX2" fmla="*/ 5019955 w 5232032"/>
              <a:gd name="connsiteY2" fmla="*/ 2784240 h 5299513"/>
              <a:gd name="connsiteX3" fmla="*/ 5019955 w 5232032"/>
              <a:gd name="connsiteY3" fmla="*/ 2510471 h 5299513"/>
              <a:gd name="connsiteX4" fmla="*/ 5232032 w 5232032"/>
              <a:gd name="connsiteY4" fmla="*/ 2308746 h 5299513"/>
              <a:gd name="connsiteX5" fmla="*/ 201232 w 5232032"/>
              <a:gd name="connsiteY5" fmla="*/ 2308746 h 5299513"/>
              <a:gd name="connsiteX6" fmla="*/ 402465 w 5232032"/>
              <a:gd name="connsiteY6" fmla="*/ 2510471 h 5299513"/>
              <a:gd name="connsiteX7" fmla="*/ 402465 w 5232032"/>
              <a:gd name="connsiteY7" fmla="*/ 2784240 h 5299513"/>
              <a:gd name="connsiteX8" fmla="*/ 201232 w 5232032"/>
              <a:gd name="connsiteY8" fmla="*/ 2990767 h 5299513"/>
              <a:gd name="connsiteX9" fmla="*/ 0 w 5232032"/>
              <a:gd name="connsiteY9" fmla="*/ 2784240 h 5299513"/>
              <a:gd name="connsiteX10" fmla="*/ 0 w 5232032"/>
              <a:gd name="connsiteY10" fmla="*/ 2510471 h 5299513"/>
              <a:gd name="connsiteX11" fmla="*/ 201232 w 5232032"/>
              <a:gd name="connsiteY11" fmla="*/ 2308746 h 5299513"/>
              <a:gd name="connsiteX12" fmla="*/ 4416260 w 5232032"/>
              <a:gd name="connsiteY12" fmla="*/ 2275007 h 5299513"/>
              <a:gd name="connsiteX13" fmla="*/ 4757270 w 5232032"/>
              <a:gd name="connsiteY13" fmla="*/ 2615289 h 5299513"/>
              <a:gd name="connsiteX14" fmla="*/ 4757270 w 5232032"/>
              <a:gd name="connsiteY14" fmla="*/ 3631341 h 5299513"/>
              <a:gd name="connsiteX15" fmla="*/ 4416260 w 5232032"/>
              <a:gd name="connsiteY15" fmla="*/ 3971622 h 5299513"/>
              <a:gd name="connsiteX16" fmla="*/ 4075249 w 5232032"/>
              <a:gd name="connsiteY16" fmla="*/ 3631341 h 5299513"/>
              <a:gd name="connsiteX17" fmla="*/ 4075249 w 5232032"/>
              <a:gd name="connsiteY17" fmla="*/ 2615289 h 5299513"/>
              <a:gd name="connsiteX18" fmla="*/ 4416260 w 5232032"/>
              <a:gd name="connsiteY18" fmla="*/ 2275007 h 5299513"/>
              <a:gd name="connsiteX19" fmla="*/ 3308894 w 5232032"/>
              <a:gd name="connsiteY19" fmla="*/ 1494178 h 5299513"/>
              <a:gd name="connsiteX20" fmla="*/ 3735444 w 5232032"/>
              <a:gd name="connsiteY20" fmla="*/ 1915928 h 5299513"/>
              <a:gd name="connsiteX21" fmla="*/ 3735444 w 5232032"/>
              <a:gd name="connsiteY21" fmla="*/ 4872971 h 5299513"/>
              <a:gd name="connsiteX22" fmla="*/ 3308894 w 5232032"/>
              <a:gd name="connsiteY22" fmla="*/ 5299513 h 5299513"/>
              <a:gd name="connsiteX23" fmla="*/ 2887137 w 5232032"/>
              <a:gd name="connsiteY23" fmla="*/ 4872971 h 5299513"/>
              <a:gd name="connsiteX24" fmla="*/ 2887137 w 5232032"/>
              <a:gd name="connsiteY24" fmla="*/ 1915928 h 5299513"/>
              <a:gd name="connsiteX25" fmla="*/ 3308894 w 5232032"/>
              <a:gd name="connsiteY25" fmla="*/ 1494178 h 5299513"/>
              <a:gd name="connsiteX26" fmla="*/ 1015801 w 5232032"/>
              <a:gd name="connsiteY26" fmla="*/ 1323071 h 5299513"/>
              <a:gd name="connsiteX27" fmla="*/ 1356811 w 5232032"/>
              <a:gd name="connsiteY27" fmla="*/ 1663358 h 5299513"/>
              <a:gd name="connsiteX28" fmla="*/ 1356811 w 5232032"/>
              <a:gd name="connsiteY28" fmla="*/ 2684219 h 5299513"/>
              <a:gd name="connsiteX29" fmla="*/ 1015801 w 5232032"/>
              <a:gd name="connsiteY29" fmla="*/ 3024506 h 5299513"/>
              <a:gd name="connsiteX30" fmla="*/ 674790 w 5232032"/>
              <a:gd name="connsiteY30" fmla="*/ 2684219 h 5299513"/>
              <a:gd name="connsiteX31" fmla="*/ 674790 w 5232032"/>
              <a:gd name="connsiteY31" fmla="*/ 1663358 h 5299513"/>
              <a:gd name="connsiteX32" fmla="*/ 1015801 w 5232032"/>
              <a:gd name="connsiteY32" fmla="*/ 1323071 h 5299513"/>
              <a:gd name="connsiteX33" fmla="*/ 2119571 w 5232032"/>
              <a:gd name="connsiteY33" fmla="*/ 0 h 5299513"/>
              <a:gd name="connsiteX34" fmla="*/ 2547333 w 5232032"/>
              <a:gd name="connsiteY34" fmla="*/ 426543 h 5299513"/>
              <a:gd name="connsiteX35" fmla="*/ 2547333 w 5232032"/>
              <a:gd name="connsiteY35" fmla="*/ 3378793 h 5299513"/>
              <a:gd name="connsiteX36" fmla="*/ 2119571 w 5232032"/>
              <a:gd name="connsiteY36" fmla="*/ 3805335 h 5299513"/>
              <a:gd name="connsiteX37" fmla="*/ 1696615 w 5232032"/>
              <a:gd name="connsiteY37" fmla="*/ 3378793 h 5299513"/>
              <a:gd name="connsiteX38" fmla="*/ 1696615 w 5232032"/>
              <a:gd name="connsiteY38" fmla="*/ 426543 h 5299513"/>
              <a:gd name="connsiteX39" fmla="*/ 2119571 w 5232032"/>
              <a:gd name="connsiteY39" fmla="*/ 0 h 5299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232032" h="5299513">
                <a:moveTo>
                  <a:pt x="5232032" y="2308746"/>
                </a:moveTo>
                <a:lnTo>
                  <a:pt x="5232032" y="2990767"/>
                </a:lnTo>
                <a:cubicBezTo>
                  <a:pt x="5116354" y="2990767"/>
                  <a:pt x="5019955" y="2899511"/>
                  <a:pt x="5019955" y="2784240"/>
                </a:cubicBezTo>
                <a:cubicBezTo>
                  <a:pt x="5019955" y="2784240"/>
                  <a:pt x="5019955" y="2784240"/>
                  <a:pt x="5019955" y="2510471"/>
                </a:cubicBezTo>
                <a:cubicBezTo>
                  <a:pt x="5019955" y="2400002"/>
                  <a:pt x="5116354" y="2308746"/>
                  <a:pt x="5232032" y="2308746"/>
                </a:cubicBezTo>
                <a:close/>
                <a:moveTo>
                  <a:pt x="201232" y="2308746"/>
                </a:moveTo>
                <a:cubicBezTo>
                  <a:pt x="311431" y="2308746"/>
                  <a:pt x="402465" y="2400002"/>
                  <a:pt x="402465" y="2510471"/>
                </a:cubicBezTo>
                <a:cubicBezTo>
                  <a:pt x="402465" y="2784240"/>
                  <a:pt x="402465" y="2784240"/>
                  <a:pt x="402465" y="2784240"/>
                </a:cubicBezTo>
                <a:cubicBezTo>
                  <a:pt x="402465" y="2899511"/>
                  <a:pt x="311431" y="2990767"/>
                  <a:pt x="201232" y="2990767"/>
                </a:cubicBezTo>
                <a:cubicBezTo>
                  <a:pt x="86242" y="2990767"/>
                  <a:pt x="0" y="2899511"/>
                  <a:pt x="0" y="2784240"/>
                </a:cubicBezTo>
                <a:cubicBezTo>
                  <a:pt x="0" y="2510471"/>
                  <a:pt x="0" y="2510471"/>
                  <a:pt x="0" y="2510471"/>
                </a:cubicBezTo>
                <a:cubicBezTo>
                  <a:pt x="0" y="2400002"/>
                  <a:pt x="86242" y="2308746"/>
                  <a:pt x="201232" y="2308746"/>
                </a:cubicBezTo>
                <a:close/>
                <a:moveTo>
                  <a:pt x="4416260" y="2275007"/>
                </a:moveTo>
                <a:cubicBezTo>
                  <a:pt x="4603575" y="2275007"/>
                  <a:pt x="4757270" y="2428373"/>
                  <a:pt x="4757270" y="2615289"/>
                </a:cubicBezTo>
                <a:cubicBezTo>
                  <a:pt x="4757270" y="3631341"/>
                  <a:pt x="4757270" y="3631341"/>
                  <a:pt x="4757270" y="3631341"/>
                </a:cubicBezTo>
                <a:cubicBezTo>
                  <a:pt x="4757270" y="3818256"/>
                  <a:pt x="4603575" y="3971622"/>
                  <a:pt x="4416260" y="3971622"/>
                </a:cubicBezTo>
                <a:cubicBezTo>
                  <a:pt x="4228944" y="3971622"/>
                  <a:pt x="4075249" y="3818256"/>
                  <a:pt x="4075249" y="3631341"/>
                </a:cubicBezTo>
                <a:cubicBezTo>
                  <a:pt x="4075249" y="2615289"/>
                  <a:pt x="4075249" y="2615289"/>
                  <a:pt x="4075249" y="2615289"/>
                </a:cubicBezTo>
                <a:cubicBezTo>
                  <a:pt x="4075249" y="2428373"/>
                  <a:pt x="4228944" y="2275007"/>
                  <a:pt x="4416260" y="2275007"/>
                </a:cubicBezTo>
                <a:close/>
                <a:moveTo>
                  <a:pt x="3308894" y="1494178"/>
                </a:moveTo>
                <a:cubicBezTo>
                  <a:pt x="3543736" y="1494178"/>
                  <a:pt x="3735444" y="1685883"/>
                  <a:pt x="3735444" y="1915928"/>
                </a:cubicBezTo>
                <a:cubicBezTo>
                  <a:pt x="3735444" y="4872971"/>
                  <a:pt x="3735444" y="4872971"/>
                  <a:pt x="3735444" y="4872971"/>
                </a:cubicBezTo>
                <a:cubicBezTo>
                  <a:pt x="3735444" y="5107809"/>
                  <a:pt x="3543736" y="5299513"/>
                  <a:pt x="3308894" y="5299513"/>
                </a:cubicBezTo>
                <a:cubicBezTo>
                  <a:pt x="3078845" y="5299513"/>
                  <a:pt x="2887137" y="5107809"/>
                  <a:pt x="2887137" y="4872971"/>
                </a:cubicBezTo>
                <a:cubicBezTo>
                  <a:pt x="2887137" y="1915928"/>
                  <a:pt x="2887137" y="1915928"/>
                  <a:pt x="2887137" y="1915928"/>
                </a:cubicBezTo>
                <a:cubicBezTo>
                  <a:pt x="2887137" y="1685883"/>
                  <a:pt x="3078845" y="1494178"/>
                  <a:pt x="3308894" y="1494178"/>
                </a:cubicBezTo>
                <a:close/>
                <a:moveTo>
                  <a:pt x="1015801" y="1323071"/>
                </a:moveTo>
                <a:cubicBezTo>
                  <a:pt x="1203116" y="1323071"/>
                  <a:pt x="1356811" y="1476440"/>
                  <a:pt x="1356811" y="1663358"/>
                </a:cubicBezTo>
                <a:cubicBezTo>
                  <a:pt x="1356811" y="2684219"/>
                  <a:pt x="1356811" y="2684219"/>
                  <a:pt x="1356811" y="2684219"/>
                </a:cubicBezTo>
                <a:cubicBezTo>
                  <a:pt x="1356811" y="2871137"/>
                  <a:pt x="1203116" y="3024506"/>
                  <a:pt x="1015801" y="3024506"/>
                </a:cubicBezTo>
                <a:cubicBezTo>
                  <a:pt x="828485" y="3024506"/>
                  <a:pt x="674790" y="2871137"/>
                  <a:pt x="674790" y="2684219"/>
                </a:cubicBezTo>
                <a:cubicBezTo>
                  <a:pt x="674790" y="1663358"/>
                  <a:pt x="674790" y="1663358"/>
                  <a:pt x="674790" y="1663358"/>
                </a:cubicBezTo>
                <a:cubicBezTo>
                  <a:pt x="674790" y="1476440"/>
                  <a:pt x="828485" y="1323071"/>
                  <a:pt x="1015801" y="1323071"/>
                </a:cubicBezTo>
                <a:close/>
                <a:moveTo>
                  <a:pt x="2119571" y="0"/>
                </a:moveTo>
                <a:cubicBezTo>
                  <a:pt x="2355080" y="0"/>
                  <a:pt x="2547333" y="191705"/>
                  <a:pt x="2547333" y="426543"/>
                </a:cubicBezTo>
                <a:cubicBezTo>
                  <a:pt x="2547333" y="3378793"/>
                  <a:pt x="2547333" y="3378793"/>
                  <a:pt x="2547333" y="3378793"/>
                </a:cubicBezTo>
                <a:cubicBezTo>
                  <a:pt x="2547333" y="3613631"/>
                  <a:pt x="2355080" y="3805335"/>
                  <a:pt x="2119571" y="3805335"/>
                </a:cubicBezTo>
                <a:cubicBezTo>
                  <a:pt x="1888868" y="3805335"/>
                  <a:pt x="1696615" y="3613631"/>
                  <a:pt x="1696615" y="3378793"/>
                </a:cubicBezTo>
                <a:cubicBezTo>
                  <a:pt x="1696615" y="426543"/>
                  <a:pt x="1696615" y="426543"/>
                  <a:pt x="1696615" y="426543"/>
                </a:cubicBezTo>
                <a:cubicBezTo>
                  <a:pt x="1696615" y="191705"/>
                  <a:pt x="1888868" y="0"/>
                  <a:pt x="2119571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5" name="Logotype">
            <a:extLst>
              <a:ext uri="{FF2B5EF4-FFF2-40B4-BE49-F238E27FC236}">
                <a16:creationId xmlns:a16="http://schemas.microsoft.com/office/drawing/2014/main" id="{02C27998-93A5-61D8-9017-E05F946896C7}"/>
              </a:ext>
            </a:extLst>
          </p:cNvPr>
          <p:cNvSpPr>
            <a:spLocks noChangeAspect="1"/>
          </p:cNvSpPr>
          <p:nvPr userDrawn="1"/>
        </p:nvSpPr>
        <p:spPr>
          <a:xfrm>
            <a:off x="641183" y="530768"/>
            <a:ext cx="1385639" cy="288790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3675385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3260026-0126-3B10-0F02-15440F80C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3135213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260026-0126-3B10-0F02-15440F80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A5832702-13D4-CC82-9036-5C11D2AEC3C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" y="2"/>
            <a:ext cx="12191999" cy="6857999"/>
          </a:xfrm>
          <a:custGeom>
            <a:avLst/>
            <a:gdLst>
              <a:gd name="connsiteX0" fmla="*/ 7166078 w 12195174"/>
              <a:gd name="connsiteY0" fmla="*/ 3249843 h 6859587"/>
              <a:gd name="connsiteX1" fmla="*/ 6964845 w 12195174"/>
              <a:gd name="connsiteY1" fmla="*/ 3451568 h 6859587"/>
              <a:gd name="connsiteX2" fmla="*/ 6964845 w 12195174"/>
              <a:gd name="connsiteY2" fmla="*/ 3725337 h 6859587"/>
              <a:gd name="connsiteX3" fmla="*/ 7166078 w 12195174"/>
              <a:gd name="connsiteY3" fmla="*/ 3931864 h 6859587"/>
              <a:gd name="connsiteX4" fmla="*/ 7367310 w 12195174"/>
              <a:gd name="connsiteY4" fmla="*/ 3725337 h 6859587"/>
              <a:gd name="connsiteX5" fmla="*/ 7367310 w 12195174"/>
              <a:gd name="connsiteY5" fmla="*/ 3451568 h 6859587"/>
              <a:gd name="connsiteX6" fmla="*/ 7166078 w 12195174"/>
              <a:gd name="connsiteY6" fmla="*/ 3249843 h 6859587"/>
              <a:gd name="connsiteX7" fmla="*/ 11381105 w 12195174"/>
              <a:gd name="connsiteY7" fmla="*/ 3216105 h 6859587"/>
              <a:gd name="connsiteX8" fmla="*/ 11040094 w 12195174"/>
              <a:gd name="connsiteY8" fmla="*/ 3556386 h 6859587"/>
              <a:gd name="connsiteX9" fmla="*/ 11040094 w 12195174"/>
              <a:gd name="connsiteY9" fmla="*/ 4572438 h 6859587"/>
              <a:gd name="connsiteX10" fmla="*/ 11381105 w 12195174"/>
              <a:gd name="connsiteY10" fmla="*/ 4912719 h 6859587"/>
              <a:gd name="connsiteX11" fmla="*/ 11722115 w 12195174"/>
              <a:gd name="connsiteY11" fmla="*/ 4572438 h 6859587"/>
              <a:gd name="connsiteX12" fmla="*/ 11722115 w 12195174"/>
              <a:gd name="connsiteY12" fmla="*/ 3556386 h 6859587"/>
              <a:gd name="connsiteX13" fmla="*/ 11381105 w 12195174"/>
              <a:gd name="connsiteY13" fmla="*/ 3216105 h 6859587"/>
              <a:gd name="connsiteX14" fmla="*/ 10273739 w 12195174"/>
              <a:gd name="connsiteY14" fmla="*/ 2435275 h 6859587"/>
              <a:gd name="connsiteX15" fmla="*/ 9851982 w 12195174"/>
              <a:gd name="connsiteY15" fmla="*/ 2857025 h 6859587"/>
              <a:gd name="connsiteX16" fmla="*/ 9851982 w 12195174"/>
              <a:gd name="connsiteY16" fmla="*/ 5814068 h 6859587"/>
              <a:gd name="connsiteX17" fmla="*/ 10273739 w 12195174"/>
              <a:gd name="connsiteY17" fmla="*/ 6240610 h 6859587"/>
              <a:gd name="connsiteX18" fmla="*/ 10700289 w 12195174"/>
              <a:gd name="connsiteY18" fmla="*/ 5814068 h 6859587"/>
              <a:gd name="connsiteX19" fmla="*/ 10700289 w 12195174"/>
              <a:gd name="connsiteY19" fmla="*/ 2857025 h 6859587"/>
              <a:gd name="connsiteX20" fmla="*/ 10273739 w 12195174"/>
              <a:gd name="connsiteY20" fmla="*/ 2435275 h 6859587"/>
              <a:gd name="connsiteX21" fmla="*/ 7980646 w 12195174"/>
              <a:gd name="connsiteY21" fmla="*/ 2264169 h 6859587"/>
              <a:gd name="connsiteX22" fmla="*/ 7639635 w 12195174"/>
              <a:gd name="connsiteY22" fmla="*/ 2604455 h 6859587"/>
              <a:gd name="connsiteX23" fmla="*/ 7639635 w 12195174"/>
              <a:gd name="connsiteY23" fmla="*/ 3625316 h 6859587"/>
              <a:gd name="connsiteX24" fmla="*/ 7980646 w 12195174"/>
              <a:gd name="connsiteY24" fmla="*/ 3965603 h 6859587"/>
              <a:gd name="connsiteX25" fmla="*/ 8321656 w 12195174"/>
              <a:gd name="connsiteY25" fmla="*/ 3625316 h 6859587"/>
              <a:gd name="connsiteX26" fmla="*/ 8321656 w 12195174"/>
              <a:gd name="connsiteY26" fmla="*/ 2604455 h 6859587"/>
              <a:gd name="connsiteX27" fmla="*/ 7980646 w 12195174"/>
              <a:gd name="connsiteY27" fmla="*/ 2264169 h 6859587"/>
              <a:gd name="connsiteX28" fmla="*/ 9084416 w 12195174"/>
              <a:gd name="connsiteY28" fmla="*/ 941097 h 6859587"/>
              <a:gd name="connsiteX29" fmla="*/ 8661460 w 12195174"/>
              <a:gd name="connsiteY29" fmla="*/ 1367640 h 6859587"/>
              <a:gd name="connsiteX30" fmla="*/ 8661460 w 12195174"/>
              <a:gd name="connsiteY30" fmla="*/ 4319890 h 6859587"/>
              <a:gd name="connsiteX31" fmla="*/ 9084416 w 12195174"/>
              <a:gd name="connsiteY31" fmla="*/ 4746432 h 6859587"/>
              <a:gd name="connsiteX32" fmla="*/ 9512178 w 12195174"/>
              <a:gd name="connsiteY32" fmla="*/ 4319890 h 6859587"/>
              <a:gd name="connsiteX33" fmla="*/ 9512178 w 12195174"/>
              <a:gd name="connsiteY33" fmla="*/ 1367640 h 6859587"/>
              <a:gd name="connsiteX34" fmla="*/ 9084416 w 12195174"/>
              <a:gd name="connsiteY34" fmla="*/ 941097 h 6859587"/>
              <a:gd name="connsiteX35" fmla="*/ 0 w 12195174"/>
              <a:gd name="connsiteY35" fmla="*/ 0 h 6859587"/>
              <a:gd name="connsiteX36" fmla="*/ 12195174 w 12195174"/>
              <a:gd name="connsiteY36" fmla="*/ 0 h 6859587"/>
              <a:gd name="connsiteX37" fmla="*/ 12195174 w 12195174"/>
              <a:gd name="connsiteY37" fmla="*/ 3250010 h 6859587"/>
              <a:gd name="connsiteX38" fmla="*/ 12154552 w 12195174"/>
              <a:gd name="connsiteY38" fmla="*/ 3253980 h 6859587"/>
              <a:gd name="connsiteX39" fmla="*/ 11984800 w 12195174"/>
              <a:gd name="connsiteY39" fmla="*/ 3451568 h 6859587"/>
              <a:gd name="connsiteX40" fmla="*/ 11984800 w 12195174"/>
              <a:gd name="connsiteY40" fmla="*/ 3725337 h 6859587"/>
              <a:gd name="connsiteX41" fmla="*/ 12154552 w 12195174"/>
              <a:gd name="connsiteY41" fmla="*/ 3927718 h 6859587"/>
              <a:gd name="connsiteX42" fmla="*/ 12195174 w 12195174"/>
              <a:gd name="connsiteY42" fmla="*/ 3931697 h 6859587"/>
              <a:gd name="connsiteX43" fmla="*/ 12195174 w 12195174"/>
              <a:gd name="connsiteY43" fmla="*/ 6859587 h 6859587"/>
              <a:gd name="connsiteX44" fmla="*/ 0 w 12195174"/>
              <a:gd name="connsiteY44" fmla="*/ 6859587 h 6859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12195174" h="6859587">
                <a:moveTo>
                  <a:pt x="7166078" y="3249843"/>
                </a:moveTo>
                <a:cubicBezTo>
                  <a:pt x="7051088" y="3249843"/>
                  <a:pt x="6964845" y="3341099"/>
                  <a:pt x="6964845" y="3451568"/>
                </a:cubicBezTo>
                <a:cubicBezTo>
                  <a:pt x="6964845" y="3451568"/>
                  <a:pt x="6964845" y="3451568"/>
                  <a:pt x="6964845" y="3725337"/>
                </a:cubicBezTo>
                <a:cubicBezTo>
                  <a:pt x="6964845" y="3840608"/>
                  <a:pt x="7051088" y="3931864"/>
                  <a:pt x="7166078" y="3931864"/>
                </a:cubicBezTo>
                <a:cubicBezTo>
                  <a:pt x="7276276" y="3931864"/>
                  <a:pt x="7367310" y="3840608"/>
                  <a:pt x="7367310" y="3725337"/>
                </a:cubicBezTo>
                <a:cubicBezTo>
                  <a:pt x="7367310" y="3725337"/>
                  <a:pt x="7367310" y="3725337"/>
                  <a:pt x="7367310" y="3451568"/>
                </a:cubicBezTo>
                <a:cubicBezTo>
                  <a:pt x="7367310" y="3341099"/>
                  <a:pt x="7276276" y="3249843"/>
                  <a:pt x="7166078" y="3249843"/>
                </a:cubicBezTo>
                <a:close/>
                <a:moveTo>
                  <a:pt x="11381105" y="3216105"/>
                </a:moveTo>
                <a:cubicBezTo>
                  <a:pt x="11193789" y="3216105"/>
                  <a:pt x="11040094" y="3369471"/>
                  <a:pt x="11040094" y="3556386"/>
                </a:cubicBezTo>
                <a:cubicBezTo>
                  <a:pt x="11040094" y="3556386"/>
                  <a:pt x="11040094" y="3556386"/>
                  <a:pt x="11040094" y="4572438"/>
                </a:cubicBezTo>
                <a:cubicBezTo>
                  <a:pt x="11040094" y="4759353"/>
                  <a:pt x="11193789" y="4912719"/>
                  <a:pt x="11381105" y="4912719"/>
                </a:cubicBezTo>
                <a:cubicBezTo>
                  <a:pt x="11568420" y="4912719"/>
                  <a:pt x="11722115" y="4759353"/>
                  <a:pt x="11722115" y="4572438"/>
                </a:cubicBezTo>
                <a:cubicBezTo>
                  <a:pt x="11722115" y="4572438"/>
                  <a:pt x="11722115" y="4572438"/>
                  <a:pt x="11722115" y="3556386"/>
                </a:cubicBezTo>
                <a:cubicBezTo>
                  <a:pt x="11722115" y="3369471"/>
                  <a:pt x="11568420" y="3216105"/>
                  <a:pt x="11381105" y="3216105"/>
                </a:cubicBezTo>
                <a:close/>
                <a:moveTo>
                  <a:pt x="10273739" y="2435275"/>
                </a:moveTo>
                <a:cubicBezTo>
                  <a:pt x="10043690" y="2435275"/>
                  <a:pt x="9851982" y="2626980"/>
                  <a:pt x="9851982" y="2857025"/>
                </a:cubicBezTo>
                <a:cubicBezTo>
                  <a:pt x="9851982" y="2857025"/>
                  <a:pt x="9851982" y="2857025"/>
                  <a:pt x="9851982" y="5814068"/>
                </a:cubicBezTo>
                <a:cubicBezTo>
                  <a:pt x="9851982" y="6048906"/>
                  <a:pt x="10043690" y="6240610"/>
                  <a:pt x="10273739" y="6240610"/>
                </a:cubicBezTo>
                <a:cubicBezTo>
                  <a:pt x="10508581" y="6240610"/>
                  <a:pt x="10700289" y="6048906"/>
                  <a:pt x="10700289" y="5814068"/>
                </a:cubicBezTo>
                <a:cubicBezTo>
                  <a:pt x="10700289" y="5814068"/>
                  <a:pt x="10700289" y="5814068"/>
                  <a:pt x="10700289" y="2857025"/>
                </a:cubicBezTo>
                <a:cubicBezTo>
                  <a:pt x="10700289" y="2626980"/>
                  <a:pt x="10508581" y="2435275"/>
                  <a:pt x="10273739" y="2435275"/>
                </a:cubicBezTo>
                <a:close/>
                <a:moveTo>
                  <a:pt x="7980646" y="2264169"/>
                </a:moveTo>
                <a:cubicBezTo>
                  <a:pt x="7793330" y="2264169"/>
                  <a:pt x="7639635" y="2417538"/>
                  <a:pt x="7639635" y="2604455"/>
                </a:cubicBezTo>
                <a:cubicBezTo>
                  <a:pt x="7639635" y="2604455"/>
                  <a:pt x="7639635" y="2604455"/>
                  <a:pt x="7639635" y="3625316"/>
                </a:cubicBezTo>
                <a:cubicBezTo>
                  <a:pt x="7639635" y="3812234"/>
                  <a:pt x="7793330" y="3965603"/>
                  <a:pt x="7980646" y="3965603"/>
                </a:cubicBezTo>
                <a:cubicBezTo>
                  <a:pt x="8167961" y="3965603"/>
                  <a:pt x="8321656" y="3812234"/>
                  <a:pt x="8321656" y="3625316"/>
                </a:cubicBezTo>
                <a:cubicBezTo>
                  <a:pt x="8321656" y="3625316"/>
                  <a:pt x="8321656" y="3625316"/>
                  <a:pt x="8321656" y="2604455"/>
                </a:cubicBezTo>
                <a:cubicBezTo>
                  <a:pt x="8321656" y="2417538"/>
                  <a:pt x="8167961" y="2264169"/>
                  <a:pt x="7980646" y="2264169"/>
                </a:cubicBezTo>
                <a:close/>
                <a:moveTo>
                  <a:pt x="9084416" y="941097"/>
                </a:moveTo>
                <a:cubicBezTo>
                  <a:pt x="8853713" y="941097"/>
                  <a:pt x="8661460" y="1132802"/>
                  <a:pt x="8661460" y="1367640"/>
                </a:cubicBezTo>
                <a:cubicBezTo>
                  <a:pt x="8661460" y="1367640"/>
                  <a:pt x="8661460" y="1367640"/>
                  <a:pt x="8661460" y="4319890"/>
                </a:cubicBezTo>
                <a:cubicBezTo>
                  <a:pt x="8661460" y="4554728"/>
                  <a:pt x="8853713" y="4746432"/>
                  <a:pt x="9084416" y="4746432"/>
                </a:cubicBezTo>
                <a:cubicBezTo>
                  <a:pt x="9319925" y="4746432"/>
                  <a:pt x="9512178" y="4554728"/>
                  <a:pt x="9512178" y="4319890"/>
                </a:cubicBezTo>
                <a:cubicBezTo>
                  <a:pt x="9512178" y="4319890"/>
                  <a:pt x="9512178" y="4319890"/>
                  <a:pt x="9512178" y="1367640"/>
                </a:cubicBezTo>
                <a:cubicBezTo>
                  <a:pt x="9512178" y="1132802"/>
                  <a:pt x="9319925" y="941097"/>
                  <a:pt x="9084416" y="941097"/>
                </a:cubicBezTo>
                <a:close/>
                <a:moveTo>
                  <a:pt x="0" y="0"/>
                </a:moveTo>
                <a:lnTo>
                  <a:pt x="12195174" y="0"/>
                </a:lnTo>
                <a:lnTo>
                  <a:pt x="12195174" y="3250010"/>
                </a:lnTo>
                <a:lnTo>
                  <a:pt x="12154552" y="3253980"/>
                </a:lnTo>
                <a:cubicBezTo>
                  <a:pt x="12058605" y="3272957"/>
                  <a:pt x="11984800" y="3354908"/>
                  <a:pt x="11984800" y="3451568"/>
                </a:cubicBezTo>
                <a:cubicBezTo>
                  <a:pt x="11984800" y="3725337"/>
                  <a:pt x="11984800" y="3725337"/>
                  <a:pt x="11984800" y="3725337"/>
                </a:cubicBezTo>
                <a:cubicBezTo>
                  <a:pt x="11984800" y="3826199"/>
                  <a:pt x="12058605" y="3908675"/>
                  <a:pt x="12154552" y="3927718"/>
                </a:cubicBezTo>
                <a:lnTo>
                  <a:pt x="12195174" y="3931697"/>
                </a:lnTo>
                <a:lnTo>
                  <a:pt x="12195174" y="6859587"/>
                </a:lnTo>
                <a:lnTo>
                  <a:pt x="0" y="685958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tIns="504000" anchor="t" anchorCtr="0">
            <a:noAutofit/>
          </a:bodyPr>
          <a:lstStyle>
            <a:lvl1pPr marL="0" indent="0" algn="ctr" rtl="0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647831" y="1338890"/>
            <a:ext cx="5434585" cy="2472627"/>
          </a:xfrm>
        </p:spPr>
        <p:txBody>
          <a:bodyPr vert="horz">
            <a:noAutofit/>
          </a:bodyPr>
          <a:lstStyle>
            <a:lvl1pPr rtl="0">
              <a:defRPr sz="3999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47831" y="4293806"/>
            <a:ext cx="5434585" cy="360000"/>
          </a:xfrm>
        </p:spPr>
        <p:txBody>
          <a:bodyPr>
            <a:noAutofit/>
          </a:bodyPr>
          <a:lstStyle>
            <a:lvl1pPr marL="0" indent="0" algn="l" rtl="0">
              <a:buNone/>
              <a:defRPr sz="1799" b="1">
                <a:solidFill>
                  <a:schemeClr val="bg1"/>
                </a:solidFill>
                <a:latin typeface="+mj-lt"/>
              </a:defRPr>
            </a:lvl1pPr>
            <a:lvl2pPr marL="544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47831" y="4772495"/>
            <a:ext cx="5434585" cy="215950"/>
          </a:xfrm>
        </p:spPr>
        <p:txBody>
          <a:bodyPr>
            <a:noAutofit/>
          </a:bodyPr>
          <a:lstStyle>
            <a:lvl1pPr marL="0" indent="0" rtl="0">
              <a:buNone/>
              <a:defRPr sz="1400">
                <a:solidFill>
                  <a:schemeClr val="bg1"/>
                </a:solidFill>
              </a:defRPr>
            </a:lvl1pPr>
            <a:lvl2pPr marL="257114" indent="0">
              <a:buNone/>
              <a:defRPr>
                <a:solidFill>
                  <a:schemeClr val="accent2"/>
                </a:solidFill>
              </a:defRPr>
            </a:lvl2pPr>
            <a:lvl3pPr marL="514228" indent="0">
              <a:buNone/>
              <a:defRPr>
                <a:solidFill>
                  <a:schemeClr val="accent2"/>
                </a:solidFill>
              </a:defRPr>
            </a:lvl3pPr>
            <a:lvl4pPr marL="771343" indent="0">
              <a:buNone/>
              <a:defRPr>
                <a:solidFill>
                  <a:schemeClr val="accent2"/>
                </a:solidFill>
              </a:defRPr>
            </a:lvl4pPr>
            <a:lvl5pPr marL="1028456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47831" y="5024437"/>
            <a:ext cx="5434585" cy="215950"/>
          </a:xfrm>
        </p:spPr>
        <p:txBody>
          <a:bodyPr>
            <a:noAutofit/>
          </a:bodyPr>
          <a:lstStyle>
            <a:lvl1pPr marL="0" indent="0" rtl="0">
              <a:buNone/>
              <a:defRPr sz="1400">
                <a:solidFill>
                  <a:schemeClr val="bg1"/>
                </a:solidFill>
              </a:defRPr>
            </a:lvl1pPr>
            <a:lvl2pPr marL="257114" indent="0">
              <a:buNone/>
              <a:defRPr>
                <a:solidFill>
                  <a:schemeClr val="accent2"/>
                </a:solidFill>
              </a:defRPr>
            </a:lvl2pPr>
            <a:lvl3pPr marL="514228" indent="0">
              <a:buNone/>
              <a:defRPr>
                <a:solidFill>
                  <a:schemeClr val="accent2"/>
                </a:solidFill>
              </a:defRPr>
            </a:lvl3pPr>
            <a:lvl4pPr marL="771343" indent="0">
              <a:buNone/>
              <a:defRPr>
                <a:solidFill>
                  <a:schemeClr val="accent2"/>
                </a:solidFill>
              </a:defRPr>
            </a:lvl4pPr>
            <a:lvl5pPr marL="1028456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5" name="Logotype">
            <a:extLst>
              <a:ext uri="{FF2B5EF4-FFF2-40B4-BE49-F238E27FC236}">
                <a16:creationId xmlns:a16="http://schemas.microsoft.com/office/drawing/2014/main" id="{E9B5DA61-A2C1-8A49-44C9-63920942D3BF}"/>
              </a:ext>
            </a:extLst>
          </p:cNvPr>
          <p:cNvSpPr>
            <a:spLocks noChangeAspect="1"/>
          </p:cNvSpPr>
          <p:nvPr userDrawn="1"/>
        </p:nvSpPr>
        <p:spPr>
          <a:xfrm>
            <a:off x="641183" y="530768"/>
            <a:ext cx="1385639" cy="288790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3978720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A5832702-13D4-CC82-9036-5C11D2AEC3C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" y="2"/>
            <a:ext cx="12191999" cy="6857999"/>
          </a:xfrm>
          <a:custGeom>
            <a:avLst/>
            <a:gdLst>
              <a:gd name="connsiteX0" fmla="*/ 7166078 w 12195174"/>
              <a:gd name="connsiteY0" fmla="*/ 3249843 h 6859587"/>
              <a:gd name="connsiteX1" fmla="*/ 6964845 w 12195174"/>
              <a:gd name="connsiteY1" fmla="*/ 3451568 h 6859587"/>
              <a:gd name="connsiteX2" fmla="*/ 6964845 w 12195174"/>
              <a:gd name="connsiteY2" fmla="*/ 3725337 h 6859587"/>
              <a:gd name="connsiteX3" fmla="*/ 7166078 w 12195174"/>
              <a:gd name="connsiteY3" fmla="*/ 3931864 h 6859587"/>
              <a:gd name="connsiteX4" fmla="*/ 7367310 w 12195174"/>
              <a:gd name="connsiteY4" fmla="*/ 3725337 h 6859587"/>
              <a:gd name="connsiteX5" fmla="*/ 7367310 w 12195174"/>
              <a:gd name="connsiteY5" fmla="*/ 3451568 h 6859587"/>
              <a:gd name="connsiteX6" fmla="*/ 7166078 w 12195174"/>
              <a:gd name="connsiteY6" fmla="*/ 3249843 h 6859587"/>
              <a:gd name="connsiteX7" fmla="*/ 11381105 w 12195174"/>
              <a:gd name="connsiteY7" fmla="*/ 3216105 h 6859587"/>
              <a:gd name="connsiteX8" fmla="*/ 11040094 w 12195174"/>
              <a:gd name="connsiteY8" fmla="*/ 3556386 h 6859587"/>
              <a:gd name="connsiteX9" fmla="*/ 11040094 w 12195174"/>
              <a:gd name="connsiteY9" fmla="*/ 4572438 h 6859587"/>
              <a:gd name="connsiteX10" fmla="*/ 11381105 w 12195174"/>
              <a:gd name="connsiteY10" fmla="*/ 4912719 h 6859587"/>
              <a:gd name="connsiteX11" fmla="*/ 11722115 w 12195174"/>
              <a:gd name="connsiteY11" fmla="*/ 4572438 h 6859587"/>
              <a:gd name="connsiteX12" fmla="*/ 11722115 w 12195174"/>
              <a:gd name="connsiteY12" fmla="*/ 3556386 h 6859587"/>
              <a:gd name="connsiteX13" fmla="*/ 11381105 w 12195174"/>
              <a:gd name="connsiteY13" fmla="*/ 3216105 h 6859587"/>
              <a:gd name="connsiteX14" fmla="*/ 10273739 w 12195174"/>
              <a:gd name="connsiteY14" fmla="*/ 2435275 h 6859587"/>
              <a:gd name="connsiteX15" fmla="*/ 9851982 w 12195174"/>
              <a:gd name="connsiteY15" fmla="*/ 2857025 h 6859587"/>
              <a:gd name="connsiteX16" fmla="*/ 9851982 w 12195174"/>
              <a:gd name="connsiteY16" fmla="*/ 5814068 h 6859587"/>
              <a:gd name="connsiteX17" fmla="*/ 10273739 w 12195174"/>
              <a:gd name="connsiteY17" fmla="*/ 6240610 h 6859587"/>
              <a:gd name="connsiteX18" fmla="*/ 10700289 w 12195174"/>
              <a:gd name="connsiteY18" fmla="*/ 5814068 h 6859587"/>
              <a:gd name="connsiteX19" fmla="*/ 10700289 w 12195174"/>
              <a:gd name="connsiteY19" fmla="*/ 2857025 h 6859587"/>
              <a:gd name="connsiteX20" fmla="*/ 10273739 w 12195174"/>
              <a:gd name="connsiteY20" fmla="*/ 2435275 h 6859587"/>
              <a:gd name="connsiteX21" fmla="*/ 7980646 w 12195174"/>
              <a:gd name="connsiteY21" fmla="*/ 2264169 h 6859587"/>
              <a:gd name="connsiteX22" fmla="*/ 7639635 w 12195174"/>
              <a:gd name="connsiteY22" fmla="*/ 2604455 h 6859587"/>
              <a:gd name="connsiteX23" fmla="*/ 7639635 w 12195174"/>
              <a:gd name="connsiteY23" fmla="*/ 3625316 h 6859587"/>
              <a:gd name="connsiteX24" fmla="*/ 7980646 w 12195174"/>
              <a:gd name="connsiteY24" fmla="*/ 3965603 h 6859587"/>
              <a:gd name="connsiteX25" fmla="*/ 8321656 w 12195174"/>
              <a:gd name="connsiteY25" fmla="*/ 3625316 h 6859587"/>
              <a:gd name="connsiteX26" fmla="*/ 8321656 w 12195174"/>
              <a:gd name="connsiteY26" fmla="*/ 2604455 h 6859587"/>
              <a:gd name="connsiteX27" fmla="*/ 7980646 w 12195174"/>
              <a:gd name="connsiteY27" fmla="*/ 2264169 h 6859587"/>
              <a:gd name="connsiteX28" fmla="*/ 9084416 w 12195174"/>
              <a:gd name="connsiteY28" fmla="*/ 941097 h 6859587"/>
              <a:gd name="connsiteX29" fmla="*/ 8661460 w 12195174"/>
              <a:gd name="connsiteY29" fmla="*/ 1367640 h 6859587"/>
              <a:gd name="connsiteX30" fmla="*/ 8661460 w 12195174"/>
              <a:gd name="connsiteY30" fmla="*/ 4319890 h 6859587"/>
              <a:gd name="connsiteX31" fmla="*/ 9084416 w 12195174"/>
              <a:gd name="connsiteY31" fmla="*/ 4746432 h 6859587"/>
              <a:gd name="connsiteX32" fmla="*/ 9512178 w 12195174"/>
              <a:gd name="connsiteY32" fmla="*/ 4319890 h 6859587"/>
              <a:gd name="connsiteX33" fmla="*/ 9512178 w 12195174"/>
              <a:gd name="connsiteY33" fmla="*/ 1367640 h 6859587"/>
              <a:gd name="connsiteX34" fmla="*/ 9084416 w 12195174"/>
              <a:gd name="connsiteY34" fmla="*/ 941097 h 6859587"/>
              <a:gd name="connsiteX35" fmla="*/ 0 w 12195174"/>
              <a:gd name="connsiteY35" fmla="*/ 0 h 6859587"/>
              <a:gd name="connsiteX36" fmla="*/ 12195174 w 12195174"/>
              <a:gd name="connsiteY36" fmla="*/ 0 h 6859587"/>
              <a:gd name="connsiteX37" fmla="*/ 12195174 w 12195174"/>
              <a:gd name="connsiteY37" fmla="*/ 3250010 h 6859587"/>
              <a:gd name="connsiteX38" fmla="*/ 12154552 w 12195174"/>
              <a:gd name="connsiteY38" fmla="*/ 3253980 h 6859587"/>
              <a:gd name="connsiteX39" fmla="*/ 11984800 w 12195174"/>
              <a:gd name="connsiteY39" fmla="*/ 3451568 h 6859587"/>
              <a:gd name="connsiteX40" fmla="*/ 11984800 w 12195174"/>
              <a:gd name="connsiteY40" fmla="*/ 3725337 h 6859587"/>
              <a:gd name="connsiteX41" fmla="*/ 12154552 w 12195174"/>
              <a:gd name="connsiteY41" fmla="*/ 3927718 h 6859587"/>
              <a:gd name="connsiteX42" fmla="*/ 12195174 w 12195174"/>
              <a:gd name="connsiteY42" fmla="*/ 3931697 h 6859587"/>
              <a:gd name="connsiteX43" fmla="*/ 12195174 w 12195174"/>
              <a:gd name="connsiteY43" fmla="*/ 6859587 h 6859587"/>
              <a:gd name="connsiteX44" fmla="*/ 0 w 12195174"/>
              <a:gd name="connsiteY44" fmla="*/ 6859587 h 6859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12195174" h="6859587">
                <a:moveTo>
                  <a:pt x="7166078" y="3249843"/>
                </a:moveTo>
                <a:cubicBezTo>
                  <a:pt x="7051088" y="3249843"/>
                  <a:pt x="6964845" y="3341099"/>
                  <a:pt x="6964845" y="3451568"/>
                </a:cubicBezTo>
                <a:cubicBezTo>
                  <a:pt x="6964845" y="3451568"/>
                  <a:pt x="6964845" y="3451568"/>
                  <a:pt x="6964845" y="3725337"/>
                </a:cubicBezTo>
                <a:cubicBezTo>
                  <a:pt x="6964845" y="3840608"/>
                  <a:pt x="7051088" y="3931864"/>
                  <a:pt x="7166078" y="3931864"/>
                </a:cubicBezTo>
                <a:cubicBezTo>
                  <a:pt x="7276276" y="3931864"/>
                  <a:pt x="7367310" y="3840608"/>
                  <a:pt x="7367310" y="3725337"/>
                </a:cubicBezTo>
                <a:cubicBezTo>
                  <a:pt x="7367310" y="3725337"/>
                  <a:pt x="7367310" y="3725337"/>
                  <a:pt x="7367310" y="3451568"/>
                </a:cubicBezTo>
                <a:cubicBezTo>
                  <a:pt x="7367310" y="3341099"/>
                  <a:pt x="7276276" y="3249843"/>
                  <a:pt x="7166078" y="3249843"/>
                </a:cubicBezTo>
                <a:close/>
                <a:moveTo>
                  <a:pt x="11381105" y="3216105"/>
                </a:moveTo>
                <a:cubicBezTo>
                  <a:pt x="11193789" y="3216105"/>
                  <a:pt x="11040094" y="3369471"/>
                  <a:pt x="11040094" y="3556386"/>
                </a:cubicBezTo>
                <a:cubicBezTo>
                  <a:pt x="11040094" y="3556386"/>
                  <a:pt x="11040094" y="3556386"/>
                  <a:pt x="11040094" y="4572438"/>
                </a:cubicBezTo>
                <a:cubicBezTo>
                  <a:pt x="11040094" y="4759353"/>
                  <a:pt x="11193789" y="4912719"/>
                  <a:pt x="11381105" y="4912719"/>
                </a:cubicBezTo>
                <a:cubicBezTo>
                  <a:pt x="11568420" y="4912719"/>
                  <a:pt x="11722115" y="4759353"/>
                  <a:pt x="11722115" y="4572438"/>
                </a:cubicBezTo>
                <a:cubicBezTo>
                  <a:pt x="11722115" y="4572438"/>
                  <a:pt x="11722115" y="4572438"/>
                  <a:pt x="11722115" y="3556386"/>
                </a:cubicBezTo>
                <a:cubicBezTo>
                  <a:pt x="11722115" y="3369471"/>
                  <a:pt x="11568420" y="3216105"/>
                  <a:pt x="11381105" y="3216105"/>
                </a:cubicBezTo>
                <a:close/>
                <a:moveTo>
                  <a:pt x="10273739" y="2435275"/>
                </a:moveTo>
                <a:cubicBezTo>
                  <a:pt x="10043690" y="2435275"/>
                  <a:pt x="9851982" y="2626980"/>
                  <a:pt x="9851982" y="2857025"/>
                </a:cubicBezTo>
                <a:cubicBezTo>
                  <a:pt x="9851982" y="2857025"/>
                  <a:pt x="9851982" y="2857025"/>
                  <a:pt x="9851982" y="5814068"/>
                </a:cubicBezTo>
                <a:cubicBezTo>
                  <a:pt x="9851982" y="6048906"/>
                  <a:pt x="10043690" y="6240610"/>
                  <a:pt x="10273739" y="6240610"/>
                </a:cubicBezTo>
                <a:cubicBezTo>
                  <a:pt x="10508581" y="6240610"/>
                  <a:pt x="10700289" y="6048906"/>
                  <a:pt x="10700289" y="5814068"/>
                </a:cubicBezTo>
                <a:cubicBezTo>
                  <a:pt x="10700289" y="5814068"/>
                  <a:pt x="10700289" y="5814068"/>
                  <a:pt x="10700289" y="2857025"/>
                </a:cubicBezTo>
                <a:cubicBezTo>
                  <a:pt x="10700289" y="2626980"/>
                  <a:pt x="10508581" y="2435275"/>
                  <a:pt x="10273739" y="2435275"/>
                </a:cubicBezTo>
                <a:close/>
                <a:moveTo>
                  <a:pt x="7980646" y="2264169"/>
                </a:moveTo>
                <a:cubicBezTo>
                  <a:pt x="7793330" y="2264169"/>
                  <a:pt x="7639635" y="2417538"/>
                  <a:pt x="7639635" y="2604455"/>
                </a:cubicBezTo>
                <a:cubicBezTo>
                  <a:pt x="7639635" y="2604455"/>
                  <a:pt x="7639635" y="2604455"/>
                  <a:pt x="7639635" y="3625316"/>
                </a:cubicBezTo>
                <a:cubicBezTo>
                  <a:pt x="7639635" y="3812234"/>
                  <a:pt x="7793330" y="3965603"/>
                  <a:pt x="7980646" y="3965603"/>
                </a:cubicBezTo>
                <a:cubicBezTo>
                  <a:pt x="8167961" y="3965603"/>
                  <a:pt x="8321656" y="3812234"/>
                  <a:pt x="8321656" y="3625316"/>
                </a:cubicBezTo>
                <a:cubicBezTo>
                  <a:pt x="8321656" y="3625316"/>
                  <a:pt x="8321656" y="3625316"/>
                  <a:pt x="8321656" y="2604455"/>
                </a:cubicBezTo>
                <a:cubicBezTo>
                  <a:pt x="8321656" y="2417538"/>
                  <a:pt x="8167961" y="2264169"/>
                  <a:pt x="7980646" y="2264169"/>
                </a:cubicBezTo>
                <a:close/>
                <a:moveTo>
                  <a:pt x="9084416" y="941097"/>
                </a:moveTo>
                <a:cubicBezTo>
                  <a:pt x="8853713" y="941097"/>
                  <a:pt x="8661460" y="1132802"/>
                  <a:pt x="8661460" y="1367640"/>
                </a:cubicBezTo>
                <a:cubicBezTo>
                  <a:pt x="8661460" y="1367640"/>
                  <a:pt x="8661460" y="1367640"/>
                  <a:pt x="8661460" y="4319890"/>
                </a:cubicBezTo>
                <a:cubicBezTo>
                  <a:pt x="8661460" y="4554728"/>
                  <a:pt x="8853713" y="4746432"/>
                  <a:pt x="9084416" y="4746432"/>
                </a:cubicBezTo>
                <a:cubicBezTo>
                  <a:pt x="9319925" y="4746432"/>
                  <a:pt x="9512178" y="4554728"/>
                  <a:pt x="9512178" y="4319890"/>
                </a:cubicBezTo>
                <a:cubicBezTo>
                  <a:pt x="9512178" y="4319890"/>
                  <a:pt x="9512178" y="4319890"/>
                  <a:pt x="9512178" y="1367640"/>
                </a:cubicBezTo>
                <a:cubicBezTo>
                  <a:pt x="9512178" y="1132802"/>
                  <a:pt x="9319925" y="941097"/>
                  <a:pt x="9084416" y="941097"/>
                </a:cubicBezTo>
                <a:close/>
                <a:moveTo>
                  <a:pt x="0" y="0"/>
                </a:moveTo>
                <a:lnTo>
                  <a:pt x="12195174" y="0"/>
                </a:lnTo>
                <a:lnTo>
                  <a:pt x="12195174" y="3250010"/>
                </a:lnTo>
                <a:lnTo>
                  <a:pt x="12154552" y="3253980"/>
                </a:lnTo>
                <a:cubicBezTo>
                  <a:pt x="12058605" y="3272957"/>
                  <a:pt x="11984800" y="3354908"/>
                  <a:pt x="11984800" y="3451568"/>
                </a:cubicBezTo>
                <a:cubicBezTo>
                  <a:pt x="11984800" y="3725337"/>
                  <a:pt x="11984800" y="3725337"/>
                  <a:pt x="11984800" y="3725337"/>
                </a:cubicBezTo>
                <a:cubicBezTo>
                  <a:pt x="11984800" y="3826199"/>
                  <a:pt x="12058605" y="3908675"/>
                  <a:pt x="12154552" y="3927718"/>
                </a:cubicBezTo>
                <a:lnTo>
                  <a:pt x="12195174" y="3931697"/>
                </a:lnTo>
                <a:lnTo>
                  <a:pt x="12195174" y="6859587"/>
                </a:lnTo>
                <a:lnTo>
                  <a:pt x="0" y="685958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tIns="504000" anchor="t" anchorCtr="0">
            <a:noAutofit/>
          </a:bodyPr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647831" y="1338890"/>
            <a:ext cx="5434585" cy="2472627"/>
          </a:xfrm>
        </p:spPr>
        <p:txBody>
          <a:bodyPr>
            <a:noAutofit/>
          </a:bodyPr>
          <a:lstStyle>
            <a:lvl1pPr>
              <a:defRPr sz="3999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47831" y="4293806"/>
            <a:ext cx="5434585" cy="360000"/>
          </a:xfrm>
        </p:spPr>
        <p:txBody>
          <a:bodyPr>
            <a:noAutofit/>
          </a:bodyPr>
          <a:lstStyle>
            <a:lvl1pPr marL="0" indent="0" algn="l">
              <a:buNone/>
              <a:defRPr sz="1799" b="1">
                <a:solidFill>
                  <a:schemeClr val="bg1"/>
                </a:solidFill>
                <a:latin typeface="+mj-lt"/>
              </a:defRPr>
            </a:lvl1pPr>
            <a:lvl2pPr marL="544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47831" y="4772495"/>
            <a:ext cx="5434585" cy="21595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257114" indent="0">
              <a:buNone/>
              <a:defRPr>
                <a:solidFill>
                  <a:schemeClr val="accent2"/>
                </a:solidFill>
              </a:defRPr>
            </a:lvl2pPr>
            <a:lvl3pPr marL="514228" indent="0">
              <a:buNone/>
              <a:defRPr>
                <a:solidFill>
                  <a:schemeClr val="accent2"/>
                </a:solidFill>
              </a:defRPr>
            </a:lvl3pPr>
            <a:lvl4pPr marL="771343" indent="0">
              <a:buNone/>
              <a:defRPr>
                <a:solidFill>
                  <a:schemeClr val="accent2"/>
                </a:solidFill>
              </a:defRPr>
            </a:lvl4pPr>
            <a:lvl5pPr marL="1028456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47831" y="5024437"/>
            <a:ext cx="5434585" cy="21595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257114" indent="0">
              <a:buNone/>
              <a:defRPr>
                <a:solidFill>
                  <a:schemeClr val="accent2"/>
                </a:solidFill>
              </a:defRPr>
            </a:lvl2pPr>
            <a:lvl3pPr marL="514228" indent="0">
              <a:buNone/>
              <a:defRPr>
                <a:solidFill>
                  <a:schemeClr val="accent2"/>
                </a:solidFill>
              </a:defRPr>
            </a:lvl3pPr>
            <a:lvl4pPr marL="771343" indent="0">
              <a:buNone/>
              <a:defRPr>
                <a:solidFill>
                  <a:schemeClr val="accent2"/>
                </a:solidFill>
              </a:defRPr>
            </a:lvl4pPr>
            <a:lvl5pPr marL="1028456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5" name="Logotype">
            <a:extLst>
              <a:ext uri="{FF2B5EF4-FFF2-40B4-BE49-F238E27FC236}">
                <a16:creationId xmlns:a16="http://schemas.microsoft.com/office/drawing/2014/main" id="{E9B5DA61-A2C1-8A49-44C9-63920942D3BF}"/>
              </a:ext>
            </a:extLst>
          </p:cNvPr>
          <p:cNvSpPr>
            <a:spLocks noChangeAspect="1"/>
          </p:cNvSpPr>
          <p:nvPr userDrawn="1"/>
        </p:nvSpPr>
        <p:spPr>
          <a:xfrm>
            <a:off x="641183" y="530768"/>
            <a:ext cx="1385639" cy="288790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4009033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79F8DC0-B0BD-E1F5-D3AE-EB8509FF4F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9682381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9F8DC0-B0BD-E1F5-D3AE-EB8509FF4F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7832" y="4958392"/>
            <a:ext cx="7198125" cy="617778"/>
          </a:xfrm>
        </p:spPr>
        <p:txBody>
          <a:bodyPr vert="horz">
            <a:noAutofit/>
          </a:bodyPr>
          <a:lstStyle>
            <a:lvl1pPr rtl="0">
              <a:defRPr sz="2399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7832" y="5601558"/>
            <a:ext cx="7198125" cy="360000"/>
          </a:xfrm>
        </p:spPr>
        <p:txBody>
          <a:bodyPr>
            <a:noAutofit/>
          </a:bodyPr>
          <a:lstStyle>
            <a:lvl1pPr marL="0" indent="0" algn="l" rtl="0">
              <a:buNone/>
              <a:defRPr b="1">
                <a:solidFill>
                  <a:schemeClr val="bg1"/>
                </a:solidFill>
                <a:latin typeface="+mj-lt"/>
              </a:defRPr>
            </a:lvl1pPr>
            <a:lvl2pPr marL="544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7832" y="6079569"/>
            <a:ext cx="7198125" cy="215950"/>
          </a:xfrm>
        </p:spPr>
        <p:txBody>
          <a:bodyPr>
            <a:noAutofit/>
          </a:bodyPr>
          <a:lstStyle>
            <a:lvl1pPr marL="0" indent="0" rtl="0">
              <a:buNone/>
              <a:defRPr sz="1300">
                <a:solidFill>
                  <a:srgbClr val="FFFFFF"/>
                </a:solidFill>
              </a:defRPr>
            </a:lvl1pPr>
            <a:lvl2pPr marL="257114" indent="0">
              <a:buNone/>
              <a:defRPr>
                <a:solidFill>
                  <a:schemeClr val="accent2"/>
                </a:solidFill>
              </a:defRPr>
            </a:lvl2pPr>
            <a:lvl3pPr marL="514228" indent="0">
              <a:buNone/>
              <a:defRPr>
                <a:solidFill>
                  <a:schemeClr val="accent2"/>
                </a:solidFill>
              </a:defRPr>
            </a:lvl3pPr>
            <a:lvl4pPr marL="771343" indent="0">
              <a:buNone/>
              <a:defRPr>
                <a:solidFill>
                  <a:schemeClr val="accent2"/>
                </a:solidFill>
              </a:defRPr>
            </a:lvl4pPr>
            <a:lvl5pPr marL="1028456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7832" y="6331511"/>
            <a:ext cx="7198125" cy="215950"/>
          </a:xfrm>
        </p:spPr>
        <p:txBody>
          <a:bodyPr>
            <a:noAutofit/>
          </a:bodyPr>
          <a:lstStyle>
            <a:lvl1pPr marL="0" indent="0" rtl="0">
              <a:buNone/>
              <a:defRPr sz="1300">
                <a:solidFill>
                  <a:srgbClr val="FFFFFF"/>
                </a:solidFill>
              </a:defRPr>
            </a:lvl1pPr>
            <a:lvl2pPr marL="257114" indent="0">
              <a:buNone/>
              <a:defRPr>
                <a:solidFill>
                  <a:schemeClr val="accent2"/>
                </a:solidFill>
              </a:defRPr>
            </a:lvl2pPr>
            <a:lvl3pPr marL="514228" indent="0">
              <a:buNone/>
              <a:defRPr>
                <a:solidFill>
                  <a:schemeClr val="accent2"/>
                </a:solidFill>
              </a:defRPr>
            </a:lvl3pPr>
            <a:lvl4pPr marL="771343" indent="0">
              <a:buNone/>
              <a:defRPr>
                <a:solidFill>
                  <a:schemeClr val="accent2"/>
                </a:solidFill>
              </a:defRPr>
            </a:lvl4pPr>
            <a:lvl5pPr marL="1028456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F7168929-C546-6900-44DB-CE0B16A737F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1" y="-1"/>
            <a:ext cx="12200823" cy="4910342"/>
          </a:xfrm>
          <a:custGeom>
            <a:avLst/>
            <a:gdLst>
              <a:gd name="connsiteX0" fmla="*/ 9926607 w 12204000"/>
              <a:gd name="connsiteY0" fmla="*/ 3747694 h 4911479"/>
              <a:gd name="connsiteX1" fmla="*/ 9822564 w 12204000"/>
              <a:gd name="connsiteY1" fmla="*/ 3851991 h 4911479"/>
              <a:gd name="connsiteX2" fmla="*/ 9822564 w 12204000"/>
              <a:gd name="connsiteY2" fmla="*/ 3993537 h 4911479"/>
              <a:gd name="connsiteX3" fmla="*/ 9926607 w 12204000"/>
              <a:gd name="connsiteY3" fmla="*/ 4100317 h 4911479"/>
              <a:gd name="connsiteX4" fmla="*/ 10030649 w 12204000"/>
              <a:gd name="connsiteY4" fmla="*/ 3993537 h 4911479"/>
              <a:gd name="connsiteX5" fmla="*/ 10030649 w 12204000"/>
              <a:gd name="connsiteY5" fmla="*/ 3851991 h 4911479"/>
              <a:gd name="connsiteX6" fmla="*/ 9926607 w 12204000"/>
              <a:gd name="connsiteY6" fmla="*/ 3747694 h 4911479"/>
              <a:gd name="connsiteX7" fmla="*/ 10347760 w 12204000"/>
              <a:gd name="connsiteY7" fmla="*/ 3238074 h 4911479"/>
              <a:gd name="connsiteX8" fmla="*/ 10171448 w 12204000"/>
              <a:gd name="connsiteY8" fmla="*/ 3414011 h 4911479"/>
              <a:gd name="connsiteX9" fmla="*/ 10171448 w 12204000"/>
              <a:gd name="connsiteY9" fmla="*/ 3941824 h 4911479"/>
              <a:gd name="connsiteX10" fmla="*/ 10347760 w 12204000"/>
              <a:gd name="connsiteY10" fmla="*/ 4117761 h 4911479"/>
              <a:gd name="connsiteX11" fmla="*/ 10524071 w 12204000"/>
              <a:gd name="connsiteY11" fmla="*/ 3941824 h 4911479"/>
              <a:gd name="connsiteX12" fmla="*/ 10524071 w 12204000"/>
              <a:gd name="connsiteY12" fmla="*/ 3414011 h 4911479"/>
              <a:gd name="connsiteX13" fmla="*/ 10347760 w 12204000"/>
              <a:gd name="connsiteY13" fmla="*/ 3238074 h 4911479"/>
              <a:gd name="connsiteX14" fmla="*/ 10918439 w 12204000"/>
              <a:gd name="connsiteY14" fmla="*/ 2554011 h 4911479"/>
              <a:gd name="connsiteX15" fmla="*/ 10699759 w 12204000"/>
              <a:gd name="connsiteY15" fmla="*/ 2774545 h 4911479"/>
              <a:gd name="connsiteX16" fmla="*/ 10699759 w 12204000"/>
              <a:gd name="connsiteY16" fmla="*/ 4300936 h 4911479"/>
              <a:gd name="connsiteX17" fmla="*/ 10918439 w 12204000"/>
              <a:gd name="connsiteY17" fmla="*/ 4521470 h 4911479"/>
              <a:gd name="connsiteX18" fmla="*/ 11139603 w 12204000"/>
              <a:gd name="connsiteY18" fmla="*/ 4300936 h 4911479"/>
              <a:gd name="connsiteX19" fmla="*/ 11139603 w 12204000"/>
              <a:gd name="connsiteY19" fmla="*/ 2774545 h 4911479"/>
              <a:gd name="connsiteX20" fmla="*/ 10918439 w 12204000"/>
              <a:gd name="connsiteY20" fmla="*/ 2554011 h 4911479"/>
              <a:gd name="connsiteX21" fmla="*/ 0 w 12204000"/>
              <a:gd name="connsiteY21" fmla="*/ 0 h 4911479"/>
              <a:gd name="connsiteX22" fmla="*/ 12204000 w 12204000"/>
              <a:gd name="connsiteY22" fmla="*/ 0 h 4911479"/>
              <a:gd name="connsiteX23" fmla="*/ 12204000 w 12204000"/>
              <a:gd name="connsiteY23" fmla="*/ 3764192 h 4911479"/>
              <a:gd name="connsiteX24" fmla="*/ 12174294 w 12204000"/>
              <a:gd name="connsiteY24" fmla="*/ 3744149 h 4911479"/>
              <a:gd name="connsiteX25" fmla="*/ 12105887 w 12204000"/>
              <a:gd name="connsiteY25" fmla="*/ 3730249 h 4911479"/>
              <a:gd name="connsiteX26" fmla="*/ 11929576 w 12204000"/>
              <a:gd name="connsiteY26" fmla="*/ 3906184 h 4911479"/>
              <a:gd name="connsiteX27" fmla="*/ 11929576 w 12204000"/>
              <a:gd name="connsiteY27" fmla="*/ 4431510 h 4911479"/>
              <a:gd name="connsiteX28" fmla="*/ 12105887 w 12204000"/>
              <a:gd name="connsiteY28" fmla="*/ 4607444 h 4911479"/>
              <a:gd name="connsiteX29" fmla="*/ 12174294 w 12204000"/>
              <a:gd name="connsiteY29" fmla="*/ 4593544 h 4911479"/>
              <a:gd name="connsiteX30" fmla="*/ 12204000 w 12204000"/>
              <a:gd name="connsiteY30" fmla="*/ 4573503 h 4911479"/>
              <a:gd name="connsiteX31" fmla="*/ 12204000 w 12204000"/>
              <a:gd name="connsiteY31" fmla="*/ 4911479 h 4911479"/>
              <a:gd name="connsiteX32" fmla="*/ 11753887 w 12204000"/>
              <a:gd name="connsiteY32" fmla="*/ 4911479 h 4911479"/>
              <a:gd name="connsiteX33" fmla="*/ 11753887 w 12204000"/>
              <a:gd name="connsiteY33" fmla="*/ 4882357 h 4911479"/>
              <a:gd name="connsiteX34" fmla="*/ 11753887 w 12204000"/>
              <a:gd name="connsiteY34" fmla="*/ 3544596 h 4911479"/>
              <a:gd name="connsiteX35" fmla="*/ 11533350 w 12204000"/>
              <a:gd name="connsiteY35" fmla="*/ 3326540 h 4911479"/>
              <a:gd name="connsiteX36" fmla="*/ 11315290 w 12204000"/>
              <a:gd name="connsiteY36" fmla="*/ 3544596 h 4911479"/>
              <a:gd name="connsiteX37" fmla="*/ 11315290 w 12204000"/>
              <a:gd name="connsiteY37" fmla="*/ 4804345 h 4911479"/>
              <a:gd name="connsiteX38" fmla="*/ 11315290 w 12204000"/>
              <a:gd name="connsiteY38" fmla="*/ 4911479 h 4911479"/>
              <a:gd name="connsiteX39" fmla="*/ 0 w 12204000"/>
              <a:gd name="connsiteY39" fmla="*/ 4911479 h 4911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2204000" h="4911479">
                <a:moveTo>
                  <a:pt x="9926607" y="3747694"/>
                </a:moveTo>
                <a:cubicBezTo>
                  <a:pt x="9867154" y="3747694"/>
                  <a:pt x="9822564" y="3794876"/>
                  <a:pt x="9822564" y="3851991"/>
                </a:cubicBezTo>
                <a:cubicBezTo>
                  <a:pt x="9822564" y="3851991"/>
                  <a:pt x="9822564" y="3851991"/>
                  <a:pt x="9822564" y="3993537"/>
                </a:cubicBezTo>
                <a:cubicBezTo>
                  <a:pt x="9822564" y="4053135"/>
                  <a:pt x="9867154" y="4100317"/>
                  <a:pt x="9926607" y="4100317"/>
                </a:cubicBezTo>
                <a:cubicBezTo>
                  <a:pt x="9983582" y="4100317"/>
                  <a:pt x="10030649" y="4053135"/>
                  <a:pt x="10030649" y="3993537"/>
                </a:cubicBezTo>
                <a:cubicBezTo>
                  <a:pt x="10030649" y="3993537"/>
                  <a:pt x="10030649" y="3993537"/>
                  <a:pt x="10030649" y="3851991"/>
                </a:cubicBezTo>
                <a:cubicBezTo>
                  <a:pt x="10030649" y="3794876"/>
                  <a:pt x="9983582" y="3747694"/>
                  <a:pt x="9926607" y="3747694"/>
                </a:cubicBezTo>
                <a:close/>
                <a:moveTo>
                  <a:pt x="10347760" y="3238074"/>
                </a:moveTo>
                <a:cubicBezTo>
                  <a:pt x="10250913" y="3238074"/>
                  <a:pt x="10171448" y="3317370"/>
                  <a:pt x="10171448" y="3414011"/>
                </a:cubicBezTo>
                <a:cubicBezTo>
                  <a:pt x="10171448" y="3414011"/>
                  <a:pt x="10171448" y="3414011"/>
                  <a:pt x="10171448" y="3941824"/>
                </a:cubicBezTo>
                <a:cubicBezTo>
                  <a:pt x="10171448" y="4038465"/>
                  <a:pt x="10250913" y="4117761"/>
                  <a:pt x="10347760" y="4117761"/>
                </a:cubicBezTo>
                <a:cubicBezTo>
                  <a:pt x="10444607" y="4117761"/>
                  <a:pt x="10524071" y="4038465"/>
                  <a:pt x="10524071" y="3941824"/>
                </a:cubicBezTo>
                <a:cubicBezTo>
                  <a:pt x="10524071" y="3941824"/>
                  <a:pt x="10524071" y="3941824"/>
                  <a:pt x="10524071" y="3414011"/>
                </a:cubicBezTo>
                <a:cubicBezTo>
                  <a:pt x="10524071" y="3317370"/>
                  <a:pt x="10444607" y="3238074"/>
                  <a:pt x="10347760" y="3238074"/>
                </a:cubicBezTo>
                <a:close/>
                <a:moveTo>
                  <a:pt x="10918439" y="2554011"/>
                </a:moveTo>
                <a:cubicBezTo>
                  <a:pt x="10799159" y="2554011"/>
                  <a:pt x="10699759" y="2653127"/>
                  <a:pt x="10699759" y="2774545"/>
                </a:cubicBezTo>
                <a:cubicBezTo>
                  <a:pt x="10699759" y="2774545"/>
                  <a:pt x="10699759" y="2774545"/>
                  <a:pt x="10699759" y="4300936"/>
                </a:cubicBezTo>
                <a:cubicBezTo>
                  <a:pt x="10699759" y="4422354"/>
                  <a:pt x="10799159" y="4521470"/>
                  <a:pt x="10918439" y="4521470"/>
                </a:cubicBezTo>
                <a:cubicBezTo>
                  <a:pt x="11040203" y="4521470"/>
                  <a:pt x="11139603" y="4422354"/>
                  <a:pt x="11139603" y="4300936"/>
                </a:cubicBezTo>
                <a:cubicBezTo>
                  <a:pt x="11139603" y="4300936"/>
                  <a:pt x="11139603" y="4300936"/>
                  <a:pt x="11139603" y="2774545"/>
                </a:cubicBezTo>
                <a:cubicBezTo>
                  <a:pt x="11139603" y="2653127"/>
                  <a:pt x="11040203" y="2554011"/>
                  <a:pt x="10918439" y="2554011"/>
                </a:cubicBezTo>
                <a:close/>
                <a:moveTo>
                  <a:pt x="0" y="0"/>
                </a:moveTo>
                <a:lnTo>
                  <a:pt x="12204000" y="0"/>
                </a:lnTo>
                <a:lnTo>
                  <a:pt x="12204000" y="3764192"/>
                </a:lnTo>
                <a:lnTo>
                  <a:pt x="12174294" y="3744149"/>
                </a:lnTo>
                <a:cubicBezTo>
                  <a:pt x="12153224" y="3735205"/>
                  <a:pt x="12130099" y="3730249"/>
                  <a:pt x="12105887" y="3730249"/>
                </a:cubicBezTo>
                <a:cubicBezTo>
                  <a:pt x="12009040" y="3730249"/>
                  <a:pt x="11929576" y="3809544"/>
                  <a:pt x="11929576" y="3906184"/>
                </a:cubicBezTo>
                <a:cubicBezTo>
                  <a:pt x="11929576" y="3906184"/>
                  <a:pt x="11929576" y="3906184"/>
                  <a:pt x="11929576" y="4431510"/>
                </a:cubicBezTo>
                <a:cubicBezTo>
                  <a:pt x="11929576" y="4528150"/>
                  <a:pt x="12009040" y="4607444"/>
                  <a:pt x="12105887" y="4607444"/>
                </a:cubicBezTo>
                <a:cubicBezTo>
                  <a:pt x="12130099" y="4607444"/>
                  <a:pt x="12153224" y="4602488"/>
                  <a:pt x="12174294" y="4593544"/>
                </a:cubicBezTo>
                <a:lnTo>
                  <a:pt x="12204000" y="4573503"/>
                </a:lnTo>
                <a:lnTo>
                  <a:pt x="12204000" y="4911479"/>
                </a:lnTo>
                <a:lnTo>
                  <a:pt x="11753887" y="4911479"/>
                </a:lnTo>
                <a:lnTo>
                  <a:pt x="11753887" y="4882357"/>
                </a:lnTo>
                <a:cubicBezTo>
                  <a:pt x="11753887" y="4691248"/>
                  <a:pt x="11753887" y="4309031"/>
                  <a:pt x="11753887" y="3544596"/>
                </a:cubicBezTo>
                <a:cubicBezTo>
                  <a:pt x="11753887" y="3425656"/>
                  <a:pt x="11654769" y="3326540"/>
                  <a:pt x="11533350" y="3326540"/>
                </a:cubicBezTo>
                <a:cubicBezTo>
                  <a:pt x="11414408" y="3326540"/>
                  <a:pt x="11315290" y="3425656"/>
                  <a:pt x="11315290" y="3544596"/>
                </a:cubicBezTo>
                <a:cubicBezTo>
                  <a:pt x="11315290" y="3544596"/>
                  <a:pt x="11315290" y="3544596"/>
                  <a:pt x="11315290" y="4804345"/>
                </a:cubicBezTo>
                <a:lnTo>
                  <a:pt x="11315290" y="4911479"/>
                </a:lnTo>
                <a:lnTo>
                  <a:pt x="0" y="4911479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anchor="ctr" anchorCtr="0">
            <a:noAutofit/>
          </a:bodyPr>
          <a:lstStyle>
            <a:lvl1pPr marL="0" marR="0" indent="0" algn="ctr" defTabSz="1088449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38" name="Pulse">
            <a:extLst>
              <a:ext uri="{FF2B5EF4-FFF2-40B4-BE49-F238E27FC236}">
                <a16:creationId xmlns:a16="http://schemas.microsoft.com/office/drawing/2014/main" id="{437A1C0F-02A0-4154-9BE2-4CC52A926281}"/>
              </a:ext>
            </a:extLst>
          </p:cNvPr>
          <p:cNvSpPr>
            <a:spLocks/>
          </p:cNvSpPr>
          <p:nvPr userDrawn="1"/>
        </p:nvSpPr>
        <p:spPr bwMode="auto">
          <a:xfrm>
            <a:off x="9821842" y="2551809"/>
            <a:ext cx="2391051" cy="2739354"/>
          </a:xfrm>
          <a:custGeom>
            <a:avLst/>
            <a:gdLst>
              <a:gd name="connsiteX0" fmla="*/ 104043 w 2391674"/>
              <a:gd name="connsiteY0" fmla="*/ 1193683 h 2739988"/>
              <a:gd name="connsiteX1" fmla="*/ 208085 w 2391674"/>
              <a:gd name="connsiteY1" fmla="*/ 1297980 h 2739988"/>
              <a:gd name="connsiteX2" fmla="*/ 208085 w 2391674"/>
              <a:gd name="connsiteY2" fmla="*/ 1439526 h 2739988"/>
              <a:gd name="connsiteX3" fmla="*/ 104043 w 2391674"/>
              <a:gd name="connsiteY3" fmla="*/ 1546306 h 2739988"/>
              <a:gd name="connsiteX4" fmla="*/ 0 w 2391674"/>
              <a:gd name="connsiteY4" fmla="*/ 1439526 h 2739988"/>
              <a:gd name="connsiteX5" fmla="*/ 0 w 2391674"/>
              <a:gd name="connsiteY5" fmla="*/ 1297980 h 2739988"/>
              <a:gd name="connsiteX6" fmla="*/ 104043 w 2391674"/>
              <a:gd name="connsiteY6" fmla="*/ 1193683 h 2739988"/>
              <a:gd name="connsiteX7" fmla="*/ 2283323 w 2391674"/>
              <a:gd name="connsiteY7" fmla="*/ 1176238 h 2739988"/>
              <a:gd name="connsiteX8" fmla="*/ 2351730 w 2391674"/>
              <a:gd name="connsiteY8" fmla="*/ 1190138 h 2739988"/>
              <a:gd name="connsiteX9" fmla="*/ 2391674 w 2391674"/>
              <a:gd name="connsiteY9" fmla="*/ 1217088 h 2739988"/>
              <a:gd name="connsiteX10" fmla="*/ 2391674 w 2391674"/>
              <a:gd name="connsiteY10" fmla="*/ 2012584 h 2739988"/>
              <a:gd name="connsiteX11" fmla="*/ 2351730 w 2391674"/>
              <a:gd name="connsiteY11" fmla="*/ 2039533 h 2739988"/>
              <a:gd name="connsiteX12" fmla="*/ 2283323 w 2391674"/>
              <a:gd name="connsiteY12" fmla="*/ 2053433 h 2739988"/>
              <a:gd name="connsiteX13" fmla="*/ 2107012 w 2391674"/>
              <a:gd name="connsiteY13" fmla="*/ 1877499 h 2739988"/>
              <a:gd name="connsiteX14" fmla="*/ 2107012 w 2391674"/>
              <a:gd name="connsiteY14" fmla="*/ 1352173 h 2739988"/>
              <a:gd name="connsiteX15" fmla="*/ 2283323 w 2391674"/>
              <a:gd name="connsiteY15" fmla="*/ 1176238 h 2739988"/>
              <a:gd name="connsiteX16" fmla="*/ 1710786 w 2391674"/>
              <a:gd name="connsiteY16" fmla="*/ 772529 h 2739988"/>
              <a:gd name="connsiteX17" fmla="*/ 1931323 w 2391674"/>
              <a:gd name="connsiteY17" fmla="*/ 990585 h 2739988"/>
              <a:gd name="connsiteX18" fmla="*/ 1931323 w 2391674"/>
              <a:gd name="connsiteY18" fmla="*/ 2519454 h 2739988"/>
              <a:gd name="connsiteX19" fmla="*/ 1710786 w 2391674"/>
              <a:gd name="connsiteY19" fmla="*/ 2739988 h 2739988"/>
              <a:gd name="connsiteX20" fmla="*/ 1492726 w 2391674"/>
              <a:gd name="connsiteY20" fmla="*/ 2519454 h 2739988"/>
              <a:gd name="connsiteX21" fmla="*/ 1492726 w 2391674"/>
              <a:gd name="connsiteY21" fmla="*/ 990585 h 2739988"/>
              <a:gd name="connsiteX22" fmla="*/ 1710786 w 2391674"/>
              <a:gd name="connsiteY22" fmla="*/ 772529 h 2739988"/>
              <a:gd name="connsiteX23" fmla="*/ 525196 w 2391674"/>
              <a:gd name="connsiteY23" fmla="*/ 684063 h 2739988"/>
              <a:gd name="connsiteX24" fmla="*/ 701507 w 2391674"/>
              <a:gd name="connsiteY24" fmla="*/ 860000 h 2739988"/>
              <a:gd name="connsiteX25" fmla="*/ 701507 w 2391674"/>
              <a:gd name="connsiteY25" fmla="*/ 1387813 h 2739988"/>
              <a:gd name="connsiteX26" fmla="*/ 525196 w 2391674"/>
              <a:gd name="connsiteY26" fmla="*/ 1563750 h 2739988"/>
              <a:gd name="connsiteX27" fmla="*/ 348884 w 2391674"/>
              <a:gd name="connsiteY27" fmla="*/ 1387813 h 2739988"/>
              <a:gd name="connsiteX28" fmla="*/ 348884 w 2391674"/>
              <a:gd name="connsiteY28" fmla="*/ 860000 h 2739988"/>
              <a:gd name="connsiteX29" fmla="*/ 525196 w 2391674"/>
              <a:gd name="connsiteY29" fmla="*/ 684063 h 2739988"/>
              <a:gd name="connsiteX30" fmla="*/ 1095875 w 2391674"/>
              <a:gd name="connsiteY30" fmla="*/ 0 h 2739988"/>
              <a:gd name="connsiteX31" fmla="*/ 1317039 w 2391674"/>
              <a:gd name="connsiteY31" fmla="*/ 220534 h 2739988"/>
              <a:gd name="connsiteX32" fmla="*/ 1317039 w 2391674"/>
              <a:gd name="connsiteY32" fmla="*/ 1746925 h 2739988"/>
              <a:gd name="connsiteX33" fmla="*/ 1095875 w 2391674"/>
              <a:gd name="connsiteY33" fmla="*/ 1967459 h 2739988"/>
              <a:gd name="connsiteX34" fmla="*/ 877195 w 2391674"/>
              <a:gd name="connsiteY34" fmla="*/ 1746925 h 2739988"/>
              <a:gd name="connsiteX35" fmla="*/ 877195 w 2391674"/>
              <a:gd name="connsiteY35" fmla="*/ 220534 h 2739988"/>
              <a:gd name="connsiteX36" fmla="*/ 1095875 w 2391674"/>
              <a:gd name="connsiteY36" fmla="*/ 0 h 2739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391674" h="2739988">
                <a:moveTo>
                  <a:pt x="104043" y="1193683"/>
                </a:moveTo>
                <a:cubicBezTo>
                  <a:pt x="161018" y="1193683"/>
                  <a:pt x="208085" y="1240865"/>
                  <a:pt x="208085" y="1297980"/>
                </a:cubicBezTo>
                <a:cubicBezTo>
                  <a:pt x="208085" y="1439526"/>
                  <a:pt x="208085" y="1439526"/>
                  <a:pt x="208085" y="1439526"/>
                </a:cubicBezTo>
                <a:cubicBezTo>
                  <a:pt x="208085" y="1499124"/>
                  <a:pt x="161018" y="1546306"/>
                  <a:pt x="104043" y="1546306"/>
                </a:cubicBezTo>
                <a:cubicBezTo>
                  <a:pt x="44590" y="1546306"/>
                  <a:pt x="0" y="1499124"/>
                  <a:pt x="0" y="1439526"/>
                </a:cubicBezTo>
                <a:cubicBezTo>
                  <a:pt x="0" y="1297980"/>
                  <a:pt x="0" y="1297980"/>
                  <a:pt x="0" y="1297980"/>
                </a:cubicBezTo>
                <a:cubicBezTo>
                  <a:pt x="0" y="1240865"/>
                  <a:pt x="44590" y="1193683"/>
                  <a:pt x="104043" y="1193683"/>
                </a:cubicBezTo>
                <a:close/>
                <a:moveTo>
                  <a:pt x="2283323" y="1176238"/>
                </a:moveTo>
                <a:cubicBezTo>
                  <a:pt x="2307535" y="1176238"/>
                  <a:pt x="2330660" y="1181194"/>
                  <a:pt x="2351730" y="1190138"/>
                </a:cubicBezTo>
                <a:lnTo>
                  <a:pt x="2391674" y="1217088"/>
                </a:lnTo>
                <a:lnTo>
                  <a:pt x="2391674" y="2012584"/>
                </a:lnTo>
                <a:lnTo>
                  <a:pt x="2351730" y="2039533"/>
                </a:lnTo>
                <a:cubicBezTo>
                  <a:pt x="2330660" y="2048477"/>
                  <a:pt x="2307535" y="2053433"/>
                  <a:pt x="2283323" y="2053433"/>
                </a:cubicBezTo>
                <a:cubicBezTo>
                  <a:pt x="2186476" y="2053433"/>
                  <a:pt x="2107012" y="1974139"/>
                  <a:pt x="2107012" y="1877499"/>
                </a:cubicBezTo>
                <a:cubicBezTo>
                  <a:pt x="2107012" y="1352173"/>
                  <a:pt x="2107012" y="1352173"/>
                  <a:pt x="2107012" y="1352173"/>
                </a:cubicBezTo>
                <a:cubicBezTo>
                  <a:pt x="2107012" y="1255533"/>
                  <a:pt x="2186476" y="1176238"/>
                  <a:pt x="2283323" y="1176238"/>
                </a:cubicBezTo>
                <a:close/>
                <a:moveTo>
                  <a:pt x="1710786" y="772529"/>
                </a:moveTo>
                <a:cubicBezTo>
                  <a:pt x="1832205" y="772529"/>
                  <a:pt x="1931323" y="871645"/>
                  <a:pt x="1931323" y="990585"/>
                </a:cubicBezTo>
                <a:cubicBezTo>
                  <a:pt x="1931323" y="2519454"/>
                  <a:pt x="1931323" y="2519454"/>
                  <a:pt x="1931323" y="2519454"/>
                </a:cubicBezTo>
                <a:cubicBezTo>
                  <a:pt x="1931323" y="2640872"/>
                  <a:pt x="1832205" y="2739988"/>
                  <a:pt x="1710786" y="2739988"/>
                </a:cubicBezTo>
                <a:cubicBezTo>
                  <a:pt x="1591844" y="2739988"/>
                  <a:pt x="1492726" y="2640872"/>
                  <a:pt x="1492726" y="2519454"/>
                </a:cubicBezTo>
                <a:cubicBezTo>
                  <a:pt x="1492726" y="990585"/>
                  <a:pt x="1492726" y="990585"/>
                  <a:pt x="1492726" y="990585"/>
                </a:cubicBezTo>
                <a:cubicBezTo>
                  <a:pt x="1492726" y="871645"/>
                  <a:pt x="1591844" y="772529"/>
                  <a:pt x="1710786" y="772529"/>
                </a:cubicBezTo>
                <a:close/>
                <a:moveTo>
                  <a:pt x="525196" y="684063"/>
                </a:moveTo>
                <a:cubicBezTo>
                  <a:pt x="622043" y="684063"/>
                  <a:pt x="701507" y="763359"/>
                  <a:pt x="701507" y="860000"/>
                </a:cubicBezTo>
                <a:cubicBezTo>
                  <a:pt x="701507" y="1387813"/>
                  <a:pt x="701507" y="1387813"/>
                  <a:pt x="701507" y="1387813"/>
                </a:cubicBezTo>
                <a:cubicBezTo>
                  <a:pt x="701507" y="1484454"/>
                  <a:pt x="622043" y="1563750"/>
                  <a:pt x="525196" y="1563750"/>
                </a:cubicBezTo>
                <a:cubicBezTo>
                  <a:pt x="428349" y="1563750"/>
                  <a:pt x="348884" y="1484454"/>
                  <a:pt x="348884" y="1387813"/>
                </a:cubicBezTo>
                <a:cubicBezTo>
                  <a:pt x="348884" y="860000"/>
                  <a:pt x="348884" y="860000"/>
                  <a:pt x="348884" y="860000"/>
                </a:cubicBezTo>
                <a:cubicBezTo>
                  <a:pt x="348884" y="763359"/>
                  <a:pt x="428349" y="684063"/>
                  <a:pt x="525196" y="684063"/>
                </a:cubicBezTo>
                <a:close/>
                <a:moveTo>
                  <a:pt x="1095875" y="0"/>
                </a:moveTo>
                <a:cubicBezTo>
                  <a:pt x="1217639" y="0"/>
                  <a:pt x="1317039" y="99116"/>
                  <a:pt x="1317039" y="220534"/>
                </a:cubicBezTo>
                <a:cubicBezTo>
                  <a:pt x="1317039" y="1746925"/>
                  <a:pt x="1317039" y="1746925"/>
                  <a:pt x="1317039" y="1746925"/>
                </a:cubicBezTo>
                <a:cubicBezTo>
                  <a:pt x="1317039" y="1868343"/>
                  <a:pt x="1217639" y="1967459"/>
                  <a:pt x="1095875" y="1967459"/>
                </a:cubicBezTo>
                <a:cubicBezTo>
                  <a:pt x="976595" y="1967459"/>
                  <a:pt x="877195" y="1868343"/>
                  <a:pt x="877195" y="1746925"/>
                </a:cubicBezTo>
                <a:cubicBezTo>
                  <a:pt x="877195" y="220534"/>
                  <a:pt x="877195" y="220534"/>
                  <a:pt x="877195" y="220534"/>
                </a:cubicBezTo>
                <a:cubicBezTo>
                  <a:pt x="877195" y="99116"/>
                  <a:pt x="976595" y="0"/>
                  <a:pt x="1095875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pPr rtl="0"/>
            <a:endParaRPr lang="en-GB" sz="1799"/>
          </a:p>
        </p:txBody>
      </p:sp>
      <p:sp>
        <p:nvSpPr>
          <p:cNvPr id="4" name="Logotype">
            <a:extLst>
              <a:ext uri="{FF2B5EF4-FFF2-40B4-BE49-F238E27FC236}">
                <a16:creationId xmlns:a16="http://schemas.microsoft.com/office/drawing/2014/main" id="{BD2047D7-89C5-B900-5601-F68C312DD512}"/>
              </a:ext>
            </a:extLst>
          </p:cNvPr>
          <p:cNvSpPr>
            <a:spLocks noChangeAspect="1"/>
          </p:cNvSpPr>
          <p:nvPr userDrawn="1"/>
        </p:nvSpPr>
        <p:spPr>
          <a:xfrm>
            <a:off x="10274619" y="6150696"/>
            <a:ext cx="1385639" cy="288790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1344452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Nordea Blue">
    <p:bg>
      <p:bgPr>
        <a:solidFill>
          <a:srgbClr val="0000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9CA5B1-337B-FADF-6EDD-B453E40DD3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5974702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9CA5B1-337B-FADF-6EDD-B453E40DD3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7831" y="1337952"/>
            <a:ext cx="5434585" cy="2472277"/>
          </a:xfrm>
        </p:spPr>
        <p:txBody>
          <a:bodyPr vert="horz">
            <a:noAutofit/>
          </a:bodyPr>
          <a:lstStyle>
            <a:lvl1pPr rtl="0">
              <a:defRPr sz="3999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7831" y="4295182"/>
            <a:ext cx="5434585" cy="360000"/>
          </a:xfrm>
        </p:spPr>
        <p:txBody>
          <a:bodyPr>
            <a:noAutofit/>
          </a:bodyPr>
          <a:lstStyle>
            <a:lvl1pPr marL="0" indent="0" algn="l" rtl="0">
              <a:buNone/>
              <a:defRPr sz="1799" b="1">
                <a:solidFill>
                  <a:srgbClr val="FFFFFF"/>
                </a:solidFill>
                <a:latin typeface="+mj-lt"/>
              </a:defRPr>
            </a:lvl1pPr>
            <a:lvl2pPr marL="544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7831" y="4773443"/>
            <a:ext cx="5434585" cy="215950"/>
          </a:xfrm>
        </p:spPr>
        <p:txBody>
          <a:bodyPr>
            <a:noAutofit/>
          </a:bodyPr>
          <a:lstStyle>
            <a:lvl1pPr marL="0" indent="0" rtl="0">
              <a:buNone/>
              <a:defRPr sz="1400">
                <a:solidFill>
                  <a:srgbClr val="FFFFFF"/>
                </a:solidFill>
              </a:defRPr>
            </a:lvl1pPr>
            <a:lvl2pPr marL="257114" indent="0">
              <a:buNone/>
              <a:defRPr>
                <a:solidFill>
                  <a:schemeClr val="accent2"/>
                </a:solidFill>
              </a:defRPr>
            </a:lvl2pPr>
            <a:lvl3pPr marL="514228" indent="0">
              <a:buNone/>
              <a:defRPr>
                <a:solidFill>
                  <a:schemeClr val="accent2"/>
                </a:solidFill>
              </a:defRPr>
            </a:lvl3pPr>
            <a:lvl4pPr marL="771343" indent="0">
              <a:buNone/>
              <a:defRPr>
                <a:solidFill>
                  <a:schemeClr val="accent2"/>
                </a:solidFill>
              </a:defRPr>
            </a:lvl4pPr>
            <a:lvl5pPr marL="1028456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7831" y="5025384"/>
            <a:ext cx="5434585" cy="215950"/>
          </a:xfrm>
        </p:spPr>
        <p:txBody>
          <a:bodyPr>
            <a:noAutofit/>
          </a:bodyPr>
          <a:lstStyle>
            <a:lvl1pPr marL="0" indent="0" rtl="0">
              <a:buNone/>
              <a:defRPr sz="1400">
                <a:solidFill>
                  <a:srgbClr val="FFFFFF"/>
                </a:solidFill>
              </a:defRPr>
            </a:lvl1pPr>
            <a:lvl2pPr marL="257114" indent="0">
              <a:buNone/>
              <a:defRPr>
                <a:solidFill>
                  <a:schemeClr val="accent2"/>
                </a:solidFill>
              </a:defRPr>
            </a:lvl2pPr>
            <a:lvl3pPr marL="514228" indent="0">
              <a:buNone/>
              <a:defRPr>
                <a:solidFill>
                  <a:schemeClr val="accent2"/>
                </a:solidFill>
              </a:defRPr>
            </a:lvl3pPr>
            <a:lvl4pPr marL="771343" indent="0">
              <a:buNone/>
              <a:defRPr>
                <a:solidFill>
                  <a:schemeClr val="accent2"/>
                </a:solidFill>
              </a:defRPr>
            </a:lvl4pPr>
            <a:lvl5pPr marL="1028456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7" name="Pulse"/>
          <p:cNvGrpSpPr/>
          <p:nvPr userDrawn="1"/>
        </p:nvGrpSpPr>
        <p:grpSpPr>
          <a:xfrm>
            <a:off x="6963033" y="940881"/>
            <a:ext cx="5230670" cy="5298286"/>
            <a:chOff x="8751888" y="3030538"/>
            <a:chExt cx="3446462" cy="3490913"/>
          </a:xfrm>
          <a:solidFill>
            <a:srgbClr val="0000FF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sz="1799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sz="1799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sz="1799"/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sz="1799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sz="1799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sz="1799"/>
            </a:p>
          </p:txBody>
        </p:sp>
      </p:grpSp>
      <p:sp>
        <p:nvSpPr>
          <p:cNvPr id="4" name="Logotype">
            <a:extLst>
              <a:ext uri="{FF2B5EF4-FFF2-40B4-BE49-F238E27FC236}">
                <a16:creationId xmlns:a16="http://schemas.microsoft.com/office/drawing/2014/main" id="{6A1547BB-290B-9302-EA1B-3A107CE0112D}"/>
              </a:ext>
            </a:extLst>
          </p:cNvPr>
          <p:cNvSpPr>
            <a:spLocks noChangeAspect="1"/>
          </p:cNvSpPr>
          <p:nvPr userDrawn="1"/>
        </p:nvSpPr>
        <p:spPr>
          <a:xfrm>
            <a:off x="641183" y="530768"/>
            <a:ext cx="1385639" cy="288790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2356351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F46F0D3-1516-9B2E-EDCA-C6A4A2B05D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4828928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46F0D3-1516-9B2E-EDCA-C6A4A2B05D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7831" y="1338890"/>
            <a:ext cx="5434585" cy="2472627"/>
          </a:xfrm>
        </p:spPr>
        <p:txBody>
          <a:bodyPr vert="horz">
            <a:noAutofit/>
          </a:bodyPr>
          <a:lstStyle>
            <a:lvl1pPr rtl="0">
              <a:defRPr sz="3999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7831" y="4293806"/>
            <a:ext cx="5434585" cy="360000"/>
          </a:xfrm>
        </p:spPr>
        <p:txBody>
          <a:bodyPr>
            <a:noAutofit/>
          </a:bodyPr>
          <a:lstStyle>
            <a:lvl1pPr marL="0" indent="0" algn="l" rtl="0">
              <a:buNone/>
              <a:defRPr sz="1799" b="1">
                <a:solidFill>
                  <a:schemeClr val="accent1"/>
                </a:solidFill>
                <a:latin typeface="+mj-lt"/>
              </a:defRPr>
            </a:lvl1pPr>
            <a:lvl2pPr marL="544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7831" y="4772495"/>
            <a:ext cx="5434585" cy="215950"/>
          </a:xfrm>
        </p:spPr>
        <p:txBody>
          <a:bodyPr>
            <a:noAutofit/>
          </a:bodyPr>
          <a:lstStyle>
            <a:lvl1pPr marL="0" indent="0" rtl="0">
              <a:buNone/>
              <a:defRPr sz="1400">
                <a:solidFill>
                  <a:schemeClr val="accent1"/>
                </a:solidFill>
              </a:defRPr>
            </a:lvl1pPr>
            <a:lvl2pPr marL="257114" indent="0">
              <a:buNone/>
              <a:defRPr>
                <a:solidFill>
                  <a:schemeClr val="accent2"/>
                </a:solidFill>
              </a:defRPr>
            </a:lvl2pPr>
            <a:lvl3pPr marL="514228" indent="0">
              <a:buNone/>
              <a:defRPr>
                <a:solidFill>
                  <a:schemeClr val="accent2"/>
                </a:solidFill>
              </a:defRPr>
            </a:lvl3pPr>
            <a:lvl4pPr marL="771343" indent="0">
              <a:buNone/>
              <a:defRPr>
                <a:solidFill>
                  <a:schemeClr val="accent2"/>
                </a:solidFill>
              </a:defRPr>
            </a:lvl4pPr>
            <a:lvl5pPr marL="1028456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7831" y="5024437"/>
            <a:ext cx="5434585" cy="215950"/>
          </a:xfrm>
        </p:spPr>
        <p:txBody>
          <a:bodyPr>
            <a:noAutofit/>
          </a:bodyPr>
          <a:lstStyle>
            <a:lvl1pPr marL="0" indent="0" rtl="0">
              <a:buNone/>
              <a:defRPr sz="1400">
                <a:solidFill>
                  <a:schemeClr val="accent1"/>
                </a:solidFill>
              </a:defRPr>
            </a:lvl1pPr>
            <a:lvl2pPr marL="257114" indent="0">
              <a:buNone/>
              <a:defRPr>
                <a:solidFill>
                  <a:schemeClr val="accent2"/>
                </a:solidFill>
              </a:defRPr>
            </a:lvl2pPr>
            <a:lvl3pPr marL="514228" indent="0">
              <a:buNone/>
              <a:defRPr>
                <a:solidFill>
                  <a:schemeClr val="accent2"/>
                </a:solidFill>
              </a:defRPr>
            </a:lvl3pPr>
            <a:lvl4pPr marL="771343" indent="0">
              <a:buNone/>
              <a:defRPr>
                <a:solidFill>
                  <a:schemeClr val="accent2"/>
                </a:solidFill>
              </a:defRPr>
            </a:lvl4pPr>
            <a:lvl5pPr marL="1028456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0" name="Pulse">
            <a:extLst>
              <a:ext uri="{FF2B5EF4-FFF2-40B4-BE49-F238E27FC236}">
                <a16:creationId xmlns:a16="http://schemas.microsoft.com/office/drawing/2014/main" id="{5E5D37B7-0D84-24B3-1D0F-520B0EC00344}"/>
              </a:ext>
            </a:extLst>
          </p:cNvPr>
          <p:cNvGrpSpPr/>
          <p:nvPr userDrawn="1"/>
        </p:nvGrpSpPr>
        <p:grpSpPr>
          <a:xfrm>
            <a:off x="6963033" y="940881"/>
            <a:ext cx="5230670" cy="5298286"/>
            <a:chOff x="8751888" y="3030538"/>
            <a:chExt cx="3446462" cy="3490913"/>
          </a:xfrm>
          <a:solidFill>
            <a:schemeClr val="bg2"/>
          </a:solidFill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A04FB1EB-FF6E-F6B7-8991-2A63FC2A15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sz="1799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29AF11C8-7F8F-F7C8-62A8-CCAF6B9D75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sz="1799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FB5136C4-3187-35EB-C589-E310B31785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sz="1799"/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257B1AA-DAD1-3C37-DE15-09A23C883A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sz="1799"/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28A911A6-7D23-992A-499B-E8DFD0C4BE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sz="1799"/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2BFB7346-42D2-6E66-9653-1C8E1CB794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sz="1799"/>
            </a:p>
          </p:txBody>
        </p:sp>
      </p:grpSp>
      <p:sp>
        <p:nvSpPr>
          <p:cNvPr id="5" name="Logotype">
            <a:extLst>
              <a:ext uri="{FF2B5EF4-FFF2-40B4-BE49-F238E27FC236}">
                <a16:creationId xmlns:a16="http://schemas.microsoft.com/office/drawing/2014/main" id="{8E544899-07C5-C614-769D-DA6A88187FC8}"/>
              </a:ext>
            </a:extLst>
          </p:cNvPr>
          <p:cNvSpPr>
            <a:spLocks noChangeAspect="1"/>
          </p:cNvSpPr>
          <p:nvPr userDrawn="1"/>
        </p:nvSpPr>
        <p:spPr>
          <a:xfrm>
            <a:off x="641183" y="530768"/>
            <a:ext cx="1385639" cy="288790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rgbClr val="0000A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3536033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BFC7703-C69D-BBED-CB20-4F95DB6DA7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2997020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FC7703-C69D-BBED-CB20-4F95DB6DA7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832" y="360000"/>
            <a:ext cx="7198125" cy="720000"/>
          </a:xfrm>
        </p:spPr>
        <p:txBody>
          <a:bodyPr vert="horz"/>
          <a:lstStyle>
            <a:lvl1pPr rtl="0">
              <a:defRPr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add agenda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7832" y="1331692"/>
            <a:ext cx="5362603" cy="4426975"/>
          </a:xfrm>
        </p:spPr>
        <p:txBody>
          <a:bodyPr>
            <a:noAutofit/>
          </a:bodyPr>
          <a:lstStyle>
            <a:lvl1pPr rtl="0">
              <a:tabLst>
                <a:tab pos="5002499" algn="r"/>
              </a:tabLst>
              <a:defRPr sz="1600">
                <a:solidFill>
                  <a:schemeClr val="bg1"/>
                </a:solidFill>
              </a:defRPr>
            </a:lvl1pPr>
            <a:lvl2pPr rtl="0">
              <a:tabLst>
                <a:tab pos="5002499" algn="r"/>
              </a:tabLst>
              <a:defRPr sz="1200">
                <a:solidFill>
                  <a:schemeClr val="bg1"/>
                </a:solidFill>
              </a:defRPr>
            </a:lvl2pPr>
            <a:lvl3pPr rtl="0">
              <a:tabLst>
                <a:tab pos="5002499" algn="r"/>
              </a:tabLst>
              <a:defRPr sz="1200">
                <a:solidFill>
                  <a:schemeClr val="bg1"/>
                </a:solidFill>
              </a:defRPr>
            </a:lvl3pPr>
            <a:lvl4pPr rtl="0">
              <a:tabLst>
                <a:tab pos="5002499" algn="r"/>
              </a:tabLst>
              <a:defRPr sz="1200">
                <a:solidFill>
                  <a:schemeClr val="bg1"/>
                </a:solidFill>
              </a:defRPr>
            </a:lvl4pPr>
            <a:lvl5pPr rtl="0">
              <a:tabLst>
                <a:tab pos="5002499" algn="r"/>
              </a:tabLst>
              <a:defRPr sz="1200">
                <a:solidFill>
                  <a:schemeClr val="bg1"/>
                </a:solidFill>
              </a:defRPr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0388" y="1331692"/>
            <a:ext cx="5362603" cy="4426975"/>
          </a:xfrm>
        </p:spPr>
        <p:txBody>
          <a:bodyPr>
            <a:noAutofit/>
          </a:bodyPr>
          <a:lstStyle>
            <a:lvl1pPr rtl="0">
              <a:tabLst>
                <a:tab pos="5002499" algn="r"/>
              </a:tabLst>
              <a:defRPr sz="1600">
                <a:solidFill>
                  <a:schemeClr val="bg1"/>
                </a:solidFill>
              </a:defRPr>
            </a:lvl1pPr>
            <a:lvl2pPr rtl="0">
              <a:tabLst>
                <a:tab pos="5002499" algn="r"/>
              </a:tabLst>
              <a:defRPr sz="1200">
                <a:solidFill>
                  <a:schemeClr val="bg1"/>
                </a:solidFill>
              </a:defRPr>
            </a:lvl2pPr>
            <a:lvl3pPr rtl="0">
              <a:tabLst>
                <a:tab pos="5002499" algn="r"/>
              </a:tabLst>
              <a:defRPr sz="1200">
                <a:solidFill>
                  <a:schemeClr val="bg1"/>
                </a:solidFill>
              </a:defRPr>
            </a:lvl3pPr>
            <a:lvl4pPr rtl="0">
              <a:tabLst>
                <a:tab pos="5002499" algn="r"/>
              </a:tabLst>
              <a:defRPr sz="1200">
                <a:solidFill>
                  <a:schemeClr val="bg1"/>
                </a:solidFill>
              </a:defRPr>
            </a:lvl4pPr>
            <a:lvl5pPr rtl="0">
              <a:tabLst>
                <a:tab pos="5002499" algn="r"/>
              </a:tabLst>
              <a:defRPr sz="1200">
                <a:solidFill>
                  <a:schemeClr val="bg1"/>
                </a:solidFill>
              </a:defRPr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Logotype, static">
            <a:extLst>
              <a:ext uri="{FF2B5EF4-FFF2-40B4-BE49-F238E27FC236}">
                <a16:creationId xmlns:a16="http://schemas.microsoft.com/office/drawing/2014/main" id="{17C67F4D-39A7-4665-5442-B164D1DECA70}"/>
              </a:ext>
            </a:extLst>
          </p:cNvPr>
          <p:cNvSpPr>
            <a:spLocks noChangeAspect="1"/>
          </p:cNvSpPr>
          <p:nvPr userDrawn="1"/>
        </p:nvSpPr>
        <p:spPr>
          <a:xfrm>
            <a:off x="10686776" y="6387892"/>
            <a:ext cx="863775" cy="180025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2424662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B26F0E4-6ED8-F8AD-9D39-4D40527B24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609687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26F0E4-6ED8-F8AD-9D39-4D40527B24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1808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Light Blue">
    <p:bg>
      <p:bgPr>
        <a:solidFill>
          <a:srgbClr val="E5F2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D5EDA77-D2B4-25B8-EAFF-ED7A0D3CFA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4634106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5EDA77-D2B4-25B8-EAFF-ED7A0D3CFA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8154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Pink">
    <p:bg>
      <p:bgPr>
        <a:solidFill>
          <a:srgbClr val="FDEC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764AE64-4D3F-C4E9-56F4-596CC596B4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1059714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64AE64-4D3F-C4E9-56F4-596CC596B4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1472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68E4DD5-A241-3A72-E87F-7209939E2F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2425899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8E4DD5-A241-3A72-E87F-7209939E2F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2546E101-B12A-350C-C307-F9B978F274A5}"/>
              </a:ext>
            </a:extLst>
          </p:cNvPr>
          <p:cNvSpPr/>
          <p:nvPr userDrawn="1"/>
        </p:nvSpPr>
        <p:spPr>
          <a:xfrm>
            <a:off x="8187421" y="0"/>
            <a:ext cx="4009356" cy="6858000"/>
          </a:xfrm>
          <a:prstGeom prst="rect">
            <a:avLst/>
          </a:prstGeom>
          <a:solidFill>
            <a:srgbClr val="E5F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7831" y="1331692"/>
            <a:ext cx="7198125" cy="442697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24A7ADA-849C-17AB-9B33-51D812A2899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500437" y="1331692"/>
            <a:ext cx="3051968" cy="4426974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  <a:lvl2pPr rtl="0">
              <a:defRPr>
                <a:solidFill>
                  <a:schemeClr val="accent1"/>
                </a:solidFill>
              </a:defRPr>
            </a:lvl2pPr>
            <a:lvl3pPr rtl="0">
              <a:defRPr>
                <a:solidFill>
                  <a:schemeClr val="accent1"/>
                </a:solidFill>
              </a:defRPr>
            </a:lvl3pPr>
            <a:lvl4pPr rtl="0">
              <a:defRPr>
                <a:solidFill>
                  <a:schemeClr val="accent1"/>
                </a:solidFill>
              </a:defRPr>
            </a:lvl4pPr>
            <a:lvl5pPr rtl="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9700100-9CEE-97C9-FAD1-B0EFCC9E31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00399" y="360001"/>
            <a:ext cx="3052005" cy="719833"/>
          </a:xfrm>
        </p:spPr>
        <p:txBody>
          <a:bodyPr anchor="b" anchorCtr="0"/>
          <a:lstStyle>
            <a:lvl1pPr marL="0" indent="0" rtl="0">
              <a:buNone/>
              <a:defRPr b="1">
                <a:latin typeface="+mj-lt"/>
              </a:defRPr>
            </a:lvl1pPr>
            <a:lvl2pPr marL="257114" indent="0">
              <a:buNone/>
              <a:defRPr b="1">
                <a:latin typeface="+mj-lt"/>
              </a:defRPr>
            </a:lvl2pPr>
            <a:lvl3pPr marL="514228" indent="0">
              <a:buNone/>
              <a:defRPr b="1">
                <a:latin typeface="+mj-lt"/>
              </a:defRPr>
            </a:lvl3pPr>
            <a:lvl4pPr marL="771343" indent="0">
              <a:buNone/>
              <a:defRPr b="1">
                <a:latin typeface="+mj-lt"/>
              </a:defRPr>
            </a:lvl4pPr>
            <a:lvl5pPr marL="1028456" indent="0">
              <a:buNone/>
              <a:defRPr b="1">
                <a:latin typeface="+mj-lt"/>
              </a:defRPr>
            </a:lvl5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16" name="Logotype, static">
            <a:extLst>
              <a:ext uri="{FF2B5EF4-FFF2-40B4-BE49-F238E27FC236}">
                <a16:creationId xmlns:a16="http://schemas.microsoft.com/office/drawing/2014/main" id="{657B27D4-ED75-46A9-0AD9-FAE61A5E0E87}"/>
              </a:ext>
            </a:extLst>
          </p:cNvPr>
          <p:cNvSpPr>
            <a:spLocks noChangeAspect="1"/>
          </p:cNvSpPr>
          <p:nvPr userDrawn="1"/>
        </p:nvSpPr>
        <p:spPr>
          <a:xfrm>
            <a:off x="10686776" y="6387892"/>
            <a:ext cx="863775" cy="180025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rgbClr val="0000A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2217857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A07E763-511D-7F32-D6A8-222680D9CE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7282302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07E763-511D-7F32-D6A8-222680D9CE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832" y="360000"/>
            <a:ext cx="7198125" cy="72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7832" y="1331692"/>
            <a:ext cx="5362603" cy="4426975"/>
          </a:xfrm>
        </p:spPr>
        <p:txBody>
          <a:bodyPr>
            <a:noAutofit/>
          </a:bodyPr>
          <a:lstStyle>
            <a:lvl1pPr rtl="0">
              <a:defRPr sz="1600"/>
            </a:lvl1pPr>
            <a:lvl2pPr rtl="0">
              <a:defRPr sz="1200"/>
            </a:lvl2pPr>
            <a:lvl3pPr rtl="0">
              <a:defRPr sz="1200"/>
            </a:lvl3pPr>
            <a:lvl4pPr rtl="0">
              <a:defRPr sz="1200"/>
            </a:lvl4pPr>
            <a:lvl5pPr rtl="0"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0388" y="1331692"/>
            <a:ext cx="5362603" cy="4426975"/>
          </a:xfrm>
        </p:spPr>
        <p:txBody>
          <a:bodyPr>
            <a:noAutofit/>
          </a:bodyPr>
          <a:lstStyle>
            <a:lvl1pPr rtl="0">
              <a:defRPr sz="1600"/>
            </a:lvl1pPr>
            <a:lvl2pPr rtl="0">
              <a:defRPr sz="1200"/>
            </a:lvl2pPr>
            <a:lvl3pPr rtl="0">
              <a:defRPr sz="1200"/>
            </a:lvl3pPr>
            <a:lvl4pPr rtl="0">
              <a:defRPr sz="1200"/>
            </a:lvl4pPr>
            <a:lvl5pPr rtl="0"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1188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C7E25EB-3BF2-EC3C-0632-666D291DA9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5300547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7E25EB-3BF2-EC3C-0632-666D291DA9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832" y="360000"/>
            <a:ext cx="7198125" cy="72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7831" y="1331692"/>
            <a:ext cx="3491091" cy="4426975"/>
          </a:xfrm>
        </p:spPr>
        <p:txBody>
          <a:bodyPr>
            <a:noAutofit/>
          </a:bodyPr>
          <a:lstStyle>
            <a:lvl1pPr rtl="0">
              <a:defRPr sz="1600"/>
            </a:lvl1pPr>
            <a:lvl2pPr rtl="0">
              <a:defRPr sz="1200"/>
            </a:lvl2pPr>
            <a:lvl3pPr rtl="0">
              <a:defRPr sz="1200"/>
            </a:lvl3pPr>
            <a:lvl4pPr rtl="0">
              <a:defRPr sz="1200"/>
            </a:lvl4pPr>
            <a:lvl5pPr rtl="0"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58465" y="1331692"/>
            <a:ext cx="3491091" cy="4426975"/>
          </a:xfrm>
        </p:spPr>
        <p:txBody>
          <a:bodyPr>
            <a:noAutofit/>
          </a:bodyPr>
          <a:lstStyle>
            <a:lvl1pPr rtl="0">
              <a:defRPr sz="1600"/>
            </a:lvl1pPr>
            <a:lvl2pPr rtl="0">
              <a:defRPr sz="1200"/>
            </a:lvl2pPr>
            <a:lvl3pPr rtl="0">
              <a:defRPr sz="1200"/>
            </a:lvl3pPr>
            <a:lvl4pPr rtl="0">
              <a:defRPr sz="1200"/>
            </a:lvl4pPr>
            <a:lvl5pPr rtl="0"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8065500" y="1331692"/>
            <a:ext cx="3491091" cy="4426975"/>
          </a:xfrm>
        </p:spPr>
        <p:txBody>
          <a:bodyPr>
            <a:noAutofit/>
          </a:bodyPr>
          <a:lstStyle>
            <a:lvl1pPr rtl="0">
              <a:defRPr sz="1600"/>
            </a:lvl1pPr>
            <a:lvl2pPr rtl="0">
              <a:defRPr sz="1200"/>
            </a:lvl2pPr>
            <a:lvl3pPr rtl="0">
              <a:defRPr sz="1200"/>
            </a:lvl3pPr>
            <a:lvl4pPr rtl="0">
              <a:defRPr sz="1200"/>
            </a:lvl4pPr>
            <a:lvl5pPr rtl="0"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533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7832" y="4958392"/>
            <a:ext cx="7198125" cy="617778"/>
          </a:xfrm>
        </p:spPr>
        <p:txBody>
          <a:bodyPr>
            <a:noAutofit/>
          </a:bodyPr>
          <a:lstStyle>
            <a:lvl1pPr>
              <a:defRPr sz="2399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7832" y="5601558"/>
            <a:ext cx="7198125" cy="360000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bg1"/>
                </a:solidFill>
                <a:latin typeface="+mj-lt"/>
              </a:defRPr>
            </a:lvl1pPr>
            <a:lvl2pPr marL="544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7832" y="6079569"/>
            <a:ext cx="7198125" cy="21595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14" indent="0">
              <a:buNone/>
              <a:defRPr>
                <a:solidFill>
                  <a:schemeClr val="accent2"/>
                </a:solidFill>
              </a:defRPr>
            </a:lvl2pPr>
            <a:lvl3pPr marL="514228" indent="0">
              <a:buNone/>
              <a:defRPr>
                <a:solidFill>
                  <a:schemeClr val="accent2"/>
                </a:solidFill>
              </a:defRPr>
            </a:lvl3pPr>
            <a:lvl4pPr marL="771343" indent="0">
              <a:buNone/>
              <a:defRPr>
                <a:solidFill>
                  <a:schemeClr val="accent2"/>
                </a:solidFill>
              </a:defRPr>
            </a:lvl4pPr>
            <a:lvl5pPr marL="1028456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7832" y="6331511"/>
            <a:ext cx="7198125" cy="21595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14" indent="0">
              <a:buNone/>
              <a:defRPr>
                <a:solidFill>
                  <a:schemeClr val="accent2"/>
                </a:solidFill>
              </a:defRPr>
            </a:lvl2pPr>
            <a:lvl3pPr marL="514228" indent="0">
              <a:buNone/>
              <a:defRPr>
                <a:solidFill>
                  <a:schemeClr val="accent2"/>
                </a:solidFill>
              </a:defRPr>
            </a:lvl3pPr>
            <a:lvl4pPr marL="771343" indent="0">
              <a:buNone/>
              <a:defRPr>
                <a:solidFill>
                  <a:schemeClr val="accent2"/>
                </a:solidFill>
              </a:defRPr>
            </a:lvl4pPr>
            <a:lvl5pPr marL="1028456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F7168929-C546-6900-44DB-CE0B16A737F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1" y="-1"/>
            <a:ext cx="12200823" cy="4910342"/>
          </a:xfrm>
          <a:custGeom>
            <a:avLst/>
            <a:gdLst>
              <a:gd name="connsiteX0" fmla="*/ 9926607 w 12204000"/>
              <a:gd name="connsiteY0" fmla="*/ 3747694 h 4911479"/>
              <a:gd name="connsiteX1" fmla="*/ 9822564 w 12204000"/>
              <a:gd name="connsiteY1" fmla="*/ 3851991 h 4911479"/>
              <a:gd name="connsiteX2" fmla="*/ 9822564 w 12204000"/>
              <a:gd name="connsiteY2" fmla="*/ 3993537 h 4911479"/>
              <a:gd name="connsiteX3" fmla="*/ 9926607 w 12204000"/>
              <a:gd name="connsiteY3" fmla="*/ 4100317 h 4911479"/>
              <a:gd name="connsiteX4" fmla="*/ 10030649 w 12204000"/>
              <a:gd name="connsiteY4" fmla="*/ 3993537 h 4911479"/>
              <a:gd name="connsiteX5" fmla="*/ 10030649 w 12204000"/>
              <a:gd name="connsiteY5" fmla="*/ 3851991 h 4911479"/>
              <a:gd name="connsiteX6" fmla="*/ 9926607 w 12204000"/>
              <a:gd name="connsiteY6" fmla="*/ 3747694 h 4911479"/>
              <a:gd name="connsiteX7" fmla="*/ 10347760 w 12204000"/>
              <a:gd name="connsiteY7" fmla="*/ 3238074 h 4911479"/>
              <a:gd name="connsiteX8" fmla="*/ 10171448 w 12204000"/>
              <a:gd name="connsiteY8" fmla="*/ 3414011 h 4911479"/>
              <a:gd name="connsiteX9" fmla="*/ 10171448 w 12204000"/>
              <a:gd name="connsiteY9" fmla="*/ 3941824 h 4911479"/>
              <a:gd name="connsiteX10" fmla="*/ 10347760 w 12204000"/>
              <a:gd name="connsiteY10" fmla="*/ 4117761 h 4911479"/>
              <a:gd name="connsiteX11" fmla="*/ 10524071 w 12204000"/>
              <a:gd name="connsiteY11" fmla="*/ 3941824 h 4911479"/>
              <a:gd name="connsiteX12" fmla="*/ 10524071 w 12204000"/>
              <a:gd name="connsiteY12" fmla="*/ 3414011 h 4911479"/>
              <a:gd name="connsiteX13" fmla="*/ 10347760 w 12204000"/>
              <a:gd name="connsiteY13" fmla="*/ 3238074 h 4911479"/>
              <a:gd name="connsiteX14" fmla="*/ 10918439 w 12204000"/>
              <a:gd name="connsiteY14" fmla="*/ 2554011 h 4911479"/>
              <a:gd name="connsiteX15" fmla="*/ 10699759 w 12204000"/>
              <a:gd name="connsiteY15" fmla="*/ 2774545 h 4911479"/>
              <a:gd name="connsiteX16" fmla="*/ 10699759 w 12204000"/>
              <a:gd name="connsiteY16" fmla="*/ 4300936 h 4911479"/>
              <a:gd name="connsiteX17" fmla="*/ 10918439 w 12204000"/>
              <a:gd name="connsiteY17" fmla="*/ 4521470 h 4911479"/>
              <a:gd name="connsiteX18" fmla="*/ 11139603 w 12204000"/>
              <a:gd name="connsiteY18" fmla="*/ 4300936 h 4911479"/>
              <a:gd name="connsiteX19" fmla="*/ 11139603 w 12204000"/>
              <a:gd name="connsiteY19" fmla="*/ 2774545 h 4911479"/>
              <a:gd name="connsiteX20" fmla="*/ 10918439 w 12204000"/>
              <a:gd name="connsiteY20" fmla="*/ 2554011 h 4911479"/>
              <a:gd name="connsiteX21" fmla="*/ 0 w 12204000"/>
              <a:gd name="connsiteY21" fmla="*/ 0 h 4911479"/>
              <a:gd name="connsiteX22" fmla="*/ 12204000 w 12204000"/>
              <a:gd name="connsiteY22" fmla="*/ 0 h 4911479"/>
              <a:gd name="connsiteX23" fmla="*/ 12204000 w 12204000"/>
              <a:gd name="connsiteY23" fmla="*/ 3764192 h 4911479"/>
              <a:gd name="connsiteX24" fmla="*/ 12174294 w 12204000"/>
              <a:gd name="connsiteY24" fmla="*/ 3744149 h 4911479"/>
              <a:gd name="connsiteX25" fmla="*/ 12105887 w 12204000"/>
              <a:gd name="connsiteY25" fmla="*/ 3730249 h 4911479"/>
              <a:gd name="connsiteX26" fmla="*/ 11929576 w 12204000"/>
              <a:gd name="connsiteY26" fmla="*/ 3906184 h 4911479"/>
              <a:gd name="connsiteX27" fmla="*/ 11929576 w 12204000"/>
              <a:gd name="connsiteY27" fmla="*/ 4431510 h 4911479"/>
              <a:gd name="connsiteX28" fmla="*/ 12105887 w 12204000"/>
              <a:gd name="connsiteY28" fmla="*/ 4607444 h 4911479"/>
              <a:gd name="connsiteX29" fmla="*/ 12174294 w 12204000"/>
              <a:gd name="connsiteY29" fmla="*/ 4593544 h 4911479"/>
              <a:gd name="connsiteX30" fmla="*/ 12204000 w 12204000"/>
              <a:gd name="connsiteY30" fmla="*/ 4573503 h 4911479"/>
              <a:gd name="connsiteX31" fmla="*/ 12204000 w 12204000"/>
              <a:gd name="connsiteY31" fmla="*/ 4911479 h 4911479"/>
              <a:gd name="connsiteX32" fmla="*/ 11753887 w 12204000"/>
              <a:gd name="connsiteY32" fmla="*/ 4911479 h 4911479"/>
              <a:gd name="connsiteX33" fmla="*/ 11753887 w 12204000"/>
              <a:gd name="connsiteY33" fmla="*/ 4882357 h 4911479"/>
              <a:gd name="connsiteX34" fmla="*/ 11753887 w 12204000"/>
              <a:gd name="connsiteY34" fmla="*/ 3544596 h 4911479"/>
              <a:gd name="connsiteX35" fmla="*/ 11533350 w 12204000"/>
              <a:gd name="connsiteY35" fmla="*/ 3326540 h 4911479"/>
              <a:gd name="connsiteX36" fmla="*/ 11315290 w 12204000"/>
              <a:gd name="connsiteY36" fmla="*/ 3544596 h 4911479"/>
              <a:gd name="connsiteX37" fmla="*/ 11315290 w 12204000"/>
              <a:gd name="connsiteY37" fmla="*/ 4804345 h 4911479"/>
              <a:gd name="connsiteX38" fmla="*/ 11315290 w 12204000"/>
              <a:gd name="connsiteY38" fmla="*/ 4911479 h 4911479"/>
              <a:gd name="connsiteX39" fmla="*/ 0 w 12204000"/>
              <a:gd name="connsiteY39" fmla="*/ 4911479 h 4911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2204000" h="4911479">
                <a:moveTo>
                  <a:pt x="9926607" y="3747694"/>
                </a:moveTo>
                <a:cubicBezTo>
                  <a:pt x="9867154" y="3747694"/>
                  <a:pt x="9822564" y="3794876"/>
                  <a:pt x="9822564" y="3851991"/>
                </a:cubicBezTo>
                <a:cubicBezTo>
                  <a:pt x="9822564" y="3851991"/>
                  <a:pt x="9822564" y="3851991"/>
                  <a:pt x="9822564" y="3993537"/>
                </a:cubicBezTo>
                <a:cubicBezTo>
                  <a:pt x="9822564" y="4053135"/>
                  <a:pt x="9867154" y="4100317"/>
                  <a:pt x="9926607" y="4100317"/>
                </a:cubicBezTo>
                <a:cubicBezTo>
                  <a:pt x="9983582" y="4100317"/>
                  <a:pt x="10030649" y="4053135"/>
                  <a:pt x="10030649" y="3993537"/>
                </a:cubicBezTo>
                <a:cubicBezTo>
                  <a:pt x="10030649" y="3993537"/>
                  <a:pt x="10030649" y="3993537"/>
                  <a:pt x="10030649" y="3851991"/>
                </a:cubicBezTo>
                <a:cubicBezTo>
                  <a:pt x="10030649" y="3794876"/>
                  <a:pt x="9983582" y="3747694"/>
                  <a:pt x="9926607" y="3747694"/>
                </a:cubicBezTo>
                <a:close/>
                <a:moveTo>
                  <a:pt x="10347760" y="3238074"/>
                </a:moveTo>
                <a:cubicBezTo>
                  <a:pt x="10250913" y="3238074"/>
                  <a:pt x="10171448" y="3317370"/>
                  <a:pt x="10171448" y="3414011"/>
                </a:cubicBezTo>
                <a:cubicBezTo>
                  <a:pt x="10171448" y="3414011"/>
                  <a:pt x="10171448" y="3414011"/>
                  <a:pt x="10171448" y="3941824"/>
                </a:cubicBezTo>
                <a:cubicBezTo>
                  <a:pt x="10171448" y="4038465"/>
                  <a:pt x="10250913" y="4117761"/>
                  <a:pt x="10347760" y="4117761"/>
                </a:cubicBezTo>
                <a:cubicBezTo>
                  <a:pt x="10444607" y="4117761"/>
                  <a:pt x="10524071" y="4038465"/>
                  <a:pt x="10524071" y="3941824"/>
                </a:cubicBezTo>
                <a:cubicBezTo>
                  <a:pt x="10524071" y="3941824"/>
                  <a:pt x="10524071" y="3941824"/>
                  <a:pt x="10524071" y="3414011"/>
                </a:cubicBezTo>
                <a:cubicBezTo>
                  <a:pt x="10524071" y="3317370"/>
                  <a:pt x="10444607" y="3238074"/>
                  <a:pt x="10347760" y="3238074"/>
                </a:cubicBezTo>
                <a:close/>
                <a:moveTo>
                  <a:pt x="10918439" y="2554011"/>
                </a:moveTo>
                <a:cubicBezTo>
                  <a:pt x="10799159" y="2554011"/>
                  <a:pt x="10699759" y="2653127"/>
                  <a:pt x="10699759" y="2774545"/>
                </a:cubicBezTo>
                <a:cubicBezTo>
                  <a:pt x="10699759" y="2774545"/>
                  <a:pt x="10699759" y="2774545"/>
                  <a:pt x="10699759" y="4300936"/>
                </a:cubicBezTo>
                <a:cubicBezTo>
                  <a:pt x="10699759" y="4422354"/>
                  <a:pt x="10799159" y="4521470"/>
                  <a:pt x="10918439" y="4521470"/>
                </a:cubicBezTo>
                <a:cubicBezTo>
                  <a:pt x="11040203" y="4521470"/>
                  <a:pt x="11139603" y="4422354"/>
                  <a:pt x="11139603" y="4300936"/>
                </a:cubicBezTo>
                <a:cubicBezTo>
                  <a:pt x="11139603" y="4300936"/>
                  <a:pt x="11139603" y="4300936"/>
                  <a:pt x="11139603" y="2774545"/>
                </a:cubicBezTo>
                <a:cubicBezTo>
                  <a:pt x="11139603" y="2653127"/>
                  <a:pt x="11040203" y="2554011"/>
                  <a:pt x="10918439" y="2554011"/>
                </a:cubicBezTo>
                <a:close/>
                <a:moveTo>
                  <a:pt x="0" y="0"/>
                </a:moveTo>
                <a:lnTo>
                  <a:pt x="12204000" y="0"/>
                </a:lnTo>
                <a:lnTo>
                  <a:pt x="12204000" y="3764192"/>
                </a:lnTo>
                <a:lnTo>
                  <a:pt x="12174294" y="3744149"/>
                </a:lnTo>
                <a:cubicBezTo>
                  <a:pt x="12153224" y="3735205"/>
                  <a:pt x="12130099" y="3730249"/>
                  <a:pt x="12105887" y="3730249"/>
                </a:cubicBezTo>
                <a:cubicBezTo>
                  <a:pt x="12009040" y="3730249"/>
                  <a:pt x="11929576" y="3809544"/>
                  <a:pt x="11929576" y="3906184"/>
                </a:cubicBezTo>
                <a:cubicBezTo>
                  <a:pt x="11929576" y="3906184"/>
                  <a:pt x="11929576" y="3906184"/>
                  <a:pt x="11929576" y="4431510"/>
                </a:cubicBezTo>
                <a:cubicBezTo>
                  <a:pt x="11929576" y="4528150"/>
                  <a:pt x="12009040" y="4607444"/>
                  <a:pt x="12105887" y="4607444"/>
                </a:cubicBezTo>
                <a:cubicBezTo>
                  <a:pt x="12130099" y="4607444"/>
                  <a:pt x="12153224" y="4602488"/>
                  <a:pt x="12174294" y="4593544"/>
                </a:cubicBezTo>
                <a:lnTo>
                  <a:pt x="12204000" y="4573503"/>
                </a:lnTo>
                <a:lnTo>
                  <a:pt x="12204000" y="4911479"/>
                </a:lnTo>
                <a:lnTo>
                  <a:pt x="11753887" y="4911479"/>
                </a:lnTo>
                <a:lnTo>
                  <a:pt x="11753887" y="4882357"/>
                </a:lnTo>
                <a:cubicBezTo>
                  <a:pt x="11753887" y="4691248"/>
                  <a:pt x="11753887" y="4309031"/>
                  <a:pt x="11753887" y="3544596"/>
                </a:cubicBezTo>
                <a:cubicBezTo>
                  <a:pt x="11753887" y="3425656"/>
                  <a:pt x="11654769" y="3326540"/>
                  <a:pt x="11533350" y="3326540"/>
                </a:cubicBezTo>
                <a:cubicBezTo>
                  <a:pt x="11414408" y="3326540"/>
                  <a:pt x="11315290" y="3425656"/>
                  <a:pt x="11315290" y="3544596"/>
                </a:cubicBezTo>
                <a:cubicBezTo>
                  <a:pt x="11315290" y="3544596"/>
                  <a:pt x="11315290" y="3544596"/>
                  <a:pt x="11315290" y="4804345"/>
                </a:cubicBezTo>
                <a:lnTo>
                  <a:pt x="11315290" y="4911479"/>
                </a:lnTo>
                <a:lnTo>
                  <a:pt x="0" y="4911479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anchor="ctr" anchorCtr="0">
            <a:noAutofit/>
          </a:bodyPr>
          <a:lstStyle>
            <a:lvl1pPr marL="0" marR="0" indent="0" algn="ctr" defTabSz="1088449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38" name="Pulse">
            <a:extLst>
              <a:ext uri="{FF2B5EF4-FFF2-40B4-BE49-F238E27FC236}">
                <a16:creationId xmlns:a16="http://schemas.microsoft.com/office/drawing/2014/main" id="{437A1C0F-02A0-4154-9BE2-4CC52A926281}"/>
              </a:ext>
            </a:extLst>
          </p:cNvPr>
          <p:cNvSpPr>
            <a:spLocks/>
          </p:cNvSpPr>
          <p:nvPr userDrawn="1"/>
        </p:nvSpPr>
        <p:spPr bwMode="auto">
          <a:xfrm>
            <a:off x="9821842" y="2551809"/>
            <a:ext cx="2391051" cy="2739354"/>
          </a:xfrm>
          <a:custGeom>
            <a:avLst/>
            <a:gdLst>
              <a:gd name="connsiteX0" fmla="*/ 104043 w 2391674"/>
              <a:gd name="connsiteY0" fmla="*/ 1193683 h 2739988"/>
              <a:gd name="connsiteX1" fmla="*/ 208085 w 2391674"/>
              <a:gd name="connsiteY1" fmla="*/ 1297980 h 2739988"/>
              <a:gd name="connsiteX2" fmla="*/ 208085 w 2391674"/>
              <a:gd name="connsiteY2" fmla="*/ 1439526 h 2739988"/>
              <a:gd name="connsiteX3" fmla="*/ 104043 w 2391674"/>
              <a:gd name="connsiteY3" fmla="*/ 1546306 h 2739988"/>
              <a:gd name="connsiteX4" fmla="*/ 0 w 2391674"/>
              <a:gd name="connsiteY4" fmla="*/ 1439526 h 2739988"/>
              <a:gd name="connsiteX5" fmla="*/ 0 w 2391674"/>
              <a:gd name="connsiteY5" fmla="*/ 1297980 h 2739988"/>
              <a:gd name="connsiteX6" fmla="*/ 104043 w 2391674"/>
              <a:gd name="connsiteY6" fmla="*/ 1193683 h 2739988"/>
              <a:gd name="connsiteX7" fmla="*/ 2283323 w 2391674"/>
              <a:gd name="connsiteY7" fmla="*/ 1176238 h 2739988"/>
              <a:gd name="connsiteX8" fmla="*/ 2351730 w 2391674"/>
              <a:gd name="connsiteY8" fmla="*/ 1190138 h 2739988"/>
              <a:gd name="connsiteX9" fmla="*/ 2391674 w 2391674"/>
              <a:gd name="connsiteY9" fmla="*/ 1217088 h 2739988"/>
              <a:gd name="connsiteX10" fmla="*/ 2391674 w 2391674"/>
              <a:gd name="connsiteY10" fmla="*/ 2012584 h 2739988"/>
              <a:gd name="connsiteX11" fmla="*/ 2351730 w 2391674"/>
              <a:gd name="connsiteY11" fmla="*/ 2039533 h 2739988"/>
              <a:gd name="connsiteX12" fmla="*/ 2283323 w 2391674"/>
              <a:gd name="connsiteY12" fmla="*/ 2053433 h 2739988"/>
              <a:gd name="connsiteX13" fmla="*/ 2107012 w 2391674"/>
              <a:gd name="connsiteY13" fmla="*/ 1877499 h 2739988"/>
              <a:gd name="connsiteX14" fmla="*/ 2107012 w 2391674"/>
              <a:gd name="connsiteY14" fmla="*/ 1352173 h 2739988"/>
              <a:gd name="connsiteX15" fmla="*/ 2283323 w 2391674"/>
              <a:gd name="connsiteY15" fmla="*/ 1176238 h 2739988"/>
              <a:gd name="connsiteX16" fmla="*/ 1710786 w 2391674"/>
              <a:gd name="connsiteY16" fmla="*/ 772529 h 2739988"/>
              <a:gd name="connsiteX17" fmla="*/ 1931323 w 2391674"/>
              <a:gd name="connsiteY17" fmla="*/ 990585 h 2739988"/>
              <a:gd name="connsiteX18" fmla="*/ 1931323 w 2391674"/>
              <a:gd name="connsiteY18" fmla="*/ 2519454 h 2739988"/>
              <a:gd name="connsiteX19" fmla="*/ 1710786 w 2391674"/>
              <a:gd name="connsiteY19" fmla="*/ 2739988 h 2739988"/>
              <a:gd name="connsiteX20" fmla="*/ 1492726 w 2391674"/>
              <a:gd name="connsiteY20" fmla="*/ 2519454 h 2739988"/>
              <a:gd name="connsiteX21" fmla="*/ 1492726 w 2391674"/>
              <a:gd name="connsiteY21" fmla="*/ 990585 h 2739988"/>
              <a:gd name="connsiteX22" fmla="*/ 1710786 w 2391674"/>
              <a:gd name="connsiteY22" fmla="*/ 772529 h 2739988"/>
              <a:gd name="connsiteX23" fmla="*/ 525196 w 2391674"/>
              <a:gd name="connsiteY23" fmla="*/ 684063 h 2739988"/>
              <a:gd name="connsiteX24" fmla="*/ 701507 w 2391674"/>
              <a:gd name="connsiteY24" fmla="*/ 860000 h 2739988"/>
              <a:gd name="connsiteX25" fmla="*/ 701507 w 2391674"/>
              <a:gd name="connsiteY25" fmla="*/ 1387813 h 2739988"/>
              <a:gd name="connsiteX26" fmla="*/ 525196 w 2391674"/>
              <a:gd name="connsiteY26" fmla="*/ 1563750 h 2739988"/>
              <a:gd name="connsiteX27" fmla="*/ 348884 w 2391674"/>
              <a:gd name="connsiteY27" fmla="*/ 1387813 h 2739988"/>
              <a:gd name="connsiteX28" fmla="*/ 348884 w 2391674"/>
              <a:gd name="connsiteY28" fmla="*/ 860000 h 2739988"/>
              <a:gd name="connsiteX29" fmla="*/ 525196 w 2391674"/>
              <a:gd name="connsiteY29" fmla="*/ 684063 h 2739988"/>
              <a:gd name="connsiteX30" fmla="*/ 1095875 w 2391674"/>
              <a:gd name="connsiteY30" fmla="*/ 0 h 2739988"/>
              <a:gd name="connsiteX31" fmla="*/ 1317039 w 2391674"/>
              <a:gd name="connsiteY31" fmla="*/ 220534 h 2739988"/>
              <a:gd name="connsiteX32" fmla="*/ 1317039 w 2391674"/>
              <a:gd name="connsiteY32" fmla="*/ 1746925 h 2739988"/>
              <a:gd name="connsiteX33" fmla="*/ 1095875 w 2391674"/>
              <a:gd name="connsiteY33" fmla="*/ 1967459 h 2739988"/>
              <a:gd name="connsiteX34" fmla="*/ 877195 w 2391674"/>
              <a:gd name="connsiteY34" fmla="*/ 1746925 h 2739988"/>
              <a:gd name="connsiteX35" fmla="*/ 877195 w 2391674"/>
              <a:gd name="connsiteY35" fmla="*/ 220534 h 2739988"/>
              <a:gd name="connsiteX36" fmla="*/ 1095875 w 2391674"/>
              <a:gd name="connsiteY36" fmla="*/ 0 h 2739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391674" h="2739988">
                <a:moveTo>
                  <a:pt x="104043" y="1193683"/>
                </a:moveTo>
                <a:cubicBezTo>
                  <a:pt x="161018" y="1193683"/>
                  <a:pt x="208085" y="1240865"/>
                  <a:pt x="208085" y="1297980"/>
                </a:cubicBezTo>
                <a:cubicBezTo>
                  <a:pt x="208085" y="1439526"/>
                  <a:pt x="208085" y="1439526"/>
                  <a:pt x="208085" y="1439526"/>
                </a:cubicBezTo>
                <a:cubicBezTo>
                  <a:pt x="208085" y="1499124"/>
                  <a:pt x="161018" y="1546306"/>
                  <a:pt x="104043" y="1546306"/>
                </a:cubicBezTo>
                <a:cubicBezTo>
                  <a:pt x="44590" y="1546306"/>
                  <a:pt x="0" y="1499124"/>
                  <a:pt x="0" y="1439526"/>
                </a:cubicBezTo>
                <a:cubicBezTo>
                  <a:pt x="0" y="1297980"/>
                  <a:pt x="0" y="1297980"/>
                  <a:pt x="0" y="1297980"/>
                </a:cubicBezTo>
                <a:cubicBezTo>
                  <a:pt x="0" y="1240865"/>
                  <a:pt x="44590" y="1193683"/>
                  <a:pt x="104043" y="1193683"/>
                </a:cubicBezTo>
                <a:close/>
                <a:moveTo>
                  <a:pt x="2283323" y="1176238"/>
                </a:moveTo>
                <a:cubicBezTo>
                  <a:pt x="2307535" y="1176238"/>
                  <a:pt x="2330660" y="1181194"/>
                  <a:pt x="2351730" y="1190138"/>
                </a:cubicBezTo>
                <a:lnTo>
                  <a:pt x="2391674" y="1217088"/>
                </a:lnTo>
                <a:lnTo>
                  <a:pt x="2391674" y="2012584"/>
                </a:lnTo>
                <a:lnTo>
                  <a:pt x="2351730" y="2039533"/>
                </a:lnTo>
                <a:cubicBezTo>
                  <a:pt x="2330660" y="2048477"/>
                  <a:pt x="2307535" y="2053433"/>
                  <a:pt x="2283323" y="2053433"/>
                </a:cubicBezTo>
                <a:cubicBezTo>
                  <a:pt x="2186476" y="2053433"/>
                  <a:pt x="2107012" y="1974139"/>
                  <a:pt x="2107012" y="1877499"/>
                </a:cubicBezTo>
                <a:cubicBezTo>
                  <a:pt x="2107012" y="1352173"/>
                  <a:pt x="2107012" y="1352173"/>
                  <a:pt x="2107012" y="1352173"/>
                </a:cubicBezTo>
                <a:cubicBezTo>
                  <a:pt x="2107012" y="1255533"/>
                  <a:pt x="2186476" y="1176238"/>
                  <a:pt x="2283323" y="1176238"/>
                </a:cubicBezTo>
                <a:close/>
                <a:moveTo>
                  <a:pt x="1710786" y="772529"/>
                </a:moveTo>
                <a:cubicBezTo>
                  <a:pt x="1832205" y="772529"/>
                  <a:pt x="1931323" y="871645"/>
                  <a:pt x="1931323" y="990585"/>
                </a:cubicBezTo>
                <a:cubicBezTo>
                  <a:pt x="1931323" y="2519454"/>
                  <a:pt x="1931323" y="2519454"/>
                  <a:pt x="1931323" y="2519454"/>
                </a:cubicBezTo>
                <a:cubicBezTo>
                  <a:pt x="1931323" y="2640872"/>
                  <a:pt x="1832205" y="2739988"/>
                  <a:pt x="1710786" y="2739988"/>
                </a:cubicBezTo>
                <a:cubicBezTo>
                  <a:pt x="1591844" y="2739988"/>
                  <a:pt x="1492726" y="2640872"/>
                  <a:pt x="1492726" y="2519454"/>
                </a:cubicBezTo>
                <a:cubicBezTo>
                  <a:pt x="1492726" y="990585"/>
                  <a:pt x="1492726" y="990585"/>
                  <a:pt x="1492726" y="990585"/>
                </a:cubicBezTo>
                <a:cubicBezTo>
                  <a:pt x="1492726" y="871645"/>
                  <a:pt x="1591844" y="772529"/>
                  <a:pt x="1710786" y="772529"/>
                </a:cubicBezTo>
                <a:close/>
                <a:moveTo>
                  <a:pt x="525196" y="684063"/>
                </a:moveTo>
                <a:cubicBezTo>
                  <a:pt x="622043" y="684063"/>
                  <a:pt x="701507" y="763359"/>
                  <a:pt x="701507" y="860000"/>
                </a:cubicBezTo>
                <a:cubicBezTo>
                  <a:pt x="701507" y="1387813"/>
                  <a:pt x="701507" y="1387813"/>
                  <a:pt x="701507" y="1387813"/>
                </a:cubicBezTo>
                <a:cubicBezTo>
                  <a:pt x="701507" y="1484454"/>
                  <a:pt x="622043" y="1563750"/>
                  <a:pt x="525196" y="1563750"/>
                </a:cubicBezTo>
                <a:cubicBezTo>
                  <a:pt x="428349" y="1563750"/>
                  <a:pt x="348884" y="1484454"/>
                  <a:pt x="348884" y="1387813"/>
                </a:cubicBezTo>
                <a:cubicBezTo>
                  <a:pt x="348884" y="860000"/>
                  <a:pt x="348884" y="860000"/>
                  <a:pt x="348884" y="860000"/>
                </a:cubicBezTo>
                <a:cubicBezTo>
                  <a:pt x="348884" y="763359"/>
                  <a:pt x="428349" y="684063"/>
                  <a:pt x="525196" y="684063"/>
                </a:cubicBezTo>
                <a:close/>
                <a:moveTo>
                  <a:pt x="1095875" y="0"/>
                </a:moveTo>
                <a:cubicBezTo>
                  <a:pt x="1217639" y="0"/>
                  <a:pt x="1317039" y="99116"/>
                  <a:pt x="1317039" y="220534"/>
                </a:cubicBezTo>
                <a:cubicBezTo>
                  <a:pt x="1317039" y="1746925"/>
                  <a:pt x="1317039" y="1746925"/>
                  <a:pt x="1317039" y="1746925"/>
                </a:cubicBezTo>
                <a:cubicBezTo>
                  <a:pt x="1317039" y="1868343"/>
                  <a:pt x="1217639" y="1967459"/>
                  <a:pt x="1095875" y="1967459"/>
                </a:cubicBezTo>
                <a:cubicBezTo>
                  <a:pt x="976595" y="1967459"/>
                  <a:pt x="877195" y="1868343"/>
                  <a:pt x="877195" y="1746925"/>
                </a:cubicBezTo>
                <a:cubicBezTo>
                  <a:pt x="877195" y="220534"/>
                  <a:pt x="877195" y="220534"/>
                  <a:pt x="877195" y="220534"/>
                </a:cubicBezTo>
                <a:cubicBezTo>
                  <a:pt x="877195" y="99116"/>
                  <a:pt x="976595" y="0"/>
                  <a:pt x="1095875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1799"/>
          </a:p>
        </p:txBody>
      </p:sp>
      <p:sp>
        <p:nvSpPr>
          <p:cNvPr id="4" name="Logotype">
            <a:extLst>
              <a:ext uri="{FF2B5EF4-FFF2-40B4-BE49-F238E27FC236}">
                <a16:creationId xmlns:a16="http://schemas.microsoft.com/office/drawing/2014/main" id="{BD2047D7-89C5-B900-5601-F68C312DD512}"/>
              </a:ext>
            </a:extLst>
          </p:cNvPr>
          <p:cNvSpPr>
            <a:spLocks noChangeAspect="1"/>
          </p:cNvSpPr>
          <p:nvPr userDrawn="1"/>
        </p:nvSpPr>
        <p:spPr>
          <a:xfrm>
            <a:off x="10274619" y="6150696"/>
            <a:ext cx="1385639" cy="288790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1173554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0985EF1-BD18-D929-1145-176DF9AB4A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3903725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985EF1-BD18-D929-1145-176DF9AB4A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832" y="360000"/>
            <a:ext cx="7198125" cy="72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7938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21F6080-ADD8-883E-D731-081F6EA87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0318352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1F6080-ADD8-883E-D731-081F6EA87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8231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and Text Box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6B39688-F12D-2391-FB21-9A9D93105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484588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B39688-F12D-2391-FB21-9A9D93105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-1" y="0"/>
            <a:ext cx="8180749" cy="6857999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 rtl="0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501039" y="359917"/>
            <a:ext cx="3051952" cy="719833"/>
          </a:xfrm>
        </p:spPr>
        <p:txBody>
          <a:bodyPr vert="horz"/>
          <a:lstStyle>
            <a:lvl1pPr rtl="0">
              <a:defRPr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B1799A-498A-8A7B-92F2-75CA3D939A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500437" y="1331692"/>
            <a:ext cx="3051968" cy="4426975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Logotype, static">
            <a:extLst>
              <a:ext uri="{FF2B5EF4-FFF2-40B4-BE49-F238E27FC236}">
                <a16:creationId xmlns:a16="http://schemas.microsoft.com/office/drawing/2014/main" id="{C6A38777-D9B2-35D0-58CA-0DC04C032ECA}"/>
              </a:ext>
            </a:extLst>
          </p:cNvPr>
          <p:cNvSpPr>
            <a:spLocks noChangeAspect="1"/>
          </p:cNvSpPr>
          <p:nvPr userDrawn="1"/>
        </p:nvSpPr>
        <p:spPr>
          <a:xfrm>
            <a:off x="10686776" y="6387892"/>
            <a:ext cx="863775" cy="180025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339615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and Heading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7F2863C-EDAC-EB70-5C27-C18F5FC57C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8660572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F2863C-EDAC-EB70-5C27-C18F5FC57C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anchor="ctr" anchorCtr="0"/>
          <a:lstStyle>
            <a:lvl1pPr marL="0" indent="0" algn="ctr" rtl="0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7832" y="359917"/>
            <a:ext cx="7198125" cy="971775"/>
          </a:xfrm>
        </p:spPr>
        <p:txBody>
          <a:bodyPr vert="horz">
            <a:noAutofit/>
          </a:bodyPr>
          <a:lstStyle>
            <a:lvl1pPr rtl="0">
              <a:defRPr sz="2999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7832" y="1510133"/>
            <a:ext cx="7198125" cy="685084"/>
          </a:xfrm>
        </p:spPr>
        <p:txBody>
          <a:bodyPr>
            <a:noAutofit/>
          </a:bodyPr>
          <a:lstStyle>
            <a:lvl1pPr marL="0" indent="0" algn="l" rtl="0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544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Logotype, static">
            <a:extLst>
              <a:ext uri="{FF2B5EF4-FFF2-40B4-BE49-F238E27FC236}">
                <a16:creationId xmlns:a16="http://schemas.microsoft.com/office/drawing/2014/main" id="{217402D2-E40B-9ED9-450B-C9603CAF484D}"/>
              </a:ext>
            </a:extLst>
          </p:cNvPr>
          <p:cNvSpPr>
            <a:spLocks noChangeAspect="1"/>
          </p:cNvSpPr>
          <p:nvPr userDrawn="1"/>
        </p:nvSpPr>
        <p:spPr>
          <a:xfrm>
            <a:off x="10686776" y="6387892"/>
            <a:ext cx="863775" cy="180025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rgbClr val="0000A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1494658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E909D2E-13D1-F2A4-3962-6C6399B930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8614348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909D2E-13D1-F2A4-3962-6C6399B930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832" y="360000"/>
            <a:ext cx="7198125" cy="72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0388" y="1331692"/>
            <a:ext cx="5362603" cy="4430574"/>
          </a:xfrm>
        </p:spPr>
        <p:txBody>
          <a:bodyPr>
            <a:noAutofit/>
          </a:bodyPr>
          <a:lstStyle>
            <a:lvl1pPr rtl="0">
              <a:defRPr sz="1600"/>
            </a:lvl1pPr>
            <a:lvl2pPr rtl="0">
              <a:defRPr sz="1200"/>
            </a:lvl2pPr>
            <a:lvl3pPr rtl="0">
              <a:defRPr sz="1200"/>
            </a:lvl3pPr>
            <a:lvl4pPr rtl="0">
              <a:defRPr sz="1200"/>
            </a:lvl4pPr>
            <a:lvl5pPr rtl="0"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7832" y="1331692"/>
            <a:ext cx="5362603" cy="4426975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 rtl="0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7843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23F246B-C7C7-D174-A391-F40118E919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3158258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3F246B-C7C7-D174-A391-F40118E919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831" y="360000"/>
            <a:ext cx="8061901" cy="72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7832" y="1331692"/>
            <a:ext cx="5362603" cy="4426975"/>
          </a:xfrm>
        </p:spPr>
        <p:txBody>
          <a:bodyPr>
            <a:noAutofit/>
          </a:bodyPr>
          <a:lstStyle>
            <a:lvl1pPr rtl="0">
              <a:defRPr sz="1600"/>
            </a:lvl1pPr>
            <a:lvl2pPr rtl="0">
              <a:defRPr sz="1200"/>
            </a:lvl2pPr>
            <a:lvl3pPr rtl="0">
              <a:defRPr sz="1200"/>
            </a:lvl3pPr>
            <a:lvl4pPr rtl="0">
              <a:defRPr sz="1200"/>
            </a:lvl4pPr>
            <a:lvl5pPr rtl="0"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190388" y="1331692"/>
            <a:ext cx="5362603" cy="4426975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 rtl="0">
              <a:buFontTx/>
              <a:buNone/>
              <a:defRPr/>
            </a:lvl1pPr>
          </a:lstStyle>
          <a:p>
            <a:r>
              <a:rPr lang="en-GB"/>
              <a:t>Insert image by using Nordea Image Bank button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6946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2243BC9-E9C9-FFEE-D24C-14847EDC9A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8281578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243BC9-E9C9-FFEE-D24C-14847EDC9A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831" y="360000"/>
            <a:ext cx="8061901" cy="72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7831" y="1331692"/>
            <a:ext cx="3491091" cy="4426975"/>
          </a:xfrm>
        </p:spPr>
        <p:txBody>
          <a:bodyPr>
            <a:noAutofit/>
          </a:bodyPr>
          <a:lstStyle>
            <a:lvl1pPr rtl="0">
              <a:defRPr sz="1600"/>
            </a:lvl1pPr>
            <a:lvl2pPr rtl="0">
              <a:defRPr sz="1200"/>
            </a:lvl2pPr>
            <a:lvl3pPr rtl="0">
              <a:defRPr sz="1200"/>
            </a:lvl3pPr>
            <a:lvl4pPr rtl="0">
              <a:defRPr sz="1200"/>
            </a:lvl4pPr>
            <a:lvl5pPr rtl="0"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8065500" y="1331692"/>
            <a:ext cx="3491091" cy="2123508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 rtl="0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5"/>
          </p:nvPr>
        </p:nvSpPr>
        <p:spPr>
          <a:xfrm>
            <a:off x="4358465" y="1331692"/>
            <a:ext cx="3491091" cy="4426975"/>
          </a:xfrm>
        </p:spPr>
        <p:txBody>
          <a:bodyPr>
            <a:noAutofit/>
          </a:bodyPr>
          <a:lstStyle>
            <a:lvl1pPr rtl="0">
              <a:defRPr sz="1600"/>
            </a:lvl1pPr>
            <a:lvl2pPr rtl="0">
              <a:defRPr sz="1200"/>
            </a:lvl2pPr>
            <a:lvl3pPr rtl="0">
              <a:defRPr sz="1200"/>
            </a:lvl3pPr>
            <a:lvl4pPr rtl="0">
              <a:defRPr sz="1200"/>
            </a:lvl4pPr>
            <a:lvl5pPr rtl="0"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8065500" y="3635158"/>
            <a:ext cx="3491091" cy="2123508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 rtl="0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2649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68800D7-CA96-5E71-0971-910426A51E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8689756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8800D7-CA96-5E71-0971-910426A51E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7831" y="1979542"/>
            <a:ext cx="10905160" cy="3779125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 rtl="0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95950" y="359917"/>
            <a:ext cx="7198125" cy="971775"/>
          </a:xfrm>
        </p:spPr>
        <p:txBody>
          <a:bodyPr vert="horz">
            <a:noAutofit/>
          </a:bodyPr>
          <a:lstStyle>
            <a:lvl1pPr algn="ctr" rtl="0">
              <a:defRPr sz="2999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495950" y="1485234"/>
            <a:ext cx="7198125" cy="360363"/>
          </a:xfrm>
        </p:spPr>
        <p:txBody>
          <a:bodyPr>
            <a:noAutofit/>
          </a:bodyPr>
          <a:lstStyle>
            <a:lvl1pPr marL="0" indent="0" algn="ctr" rtl="0">
              <a:buFontTx/>
              <a:buNone/>
              <a:defRPr b="1">
                <a:solidFill>
                  <a:srgbClr val="8B8A8D"/>
                </a:solidFill>
                <a:latin typeface="+mj-lt"/>
              </a:defRPr>
            </a:lvl1pPr>
            <a:lvl2pPr marL="257114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228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343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456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5147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F49E470-C70B-8159-5D0A-4E944A8D01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3090753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49E470-C70B-8159-5D0A-4E944A8D01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1531" y="1616886"/>
            <a:ext cx="8400000" cy="1842019"/>
          </a:xfrm>
        </p:spPr>
        <p:txBody>
          <a:bodyPr vert="horz" anchor="b" anchorCtr="0">
            <a:noAutofit/>
          </a:bodyPr>
          <a:lstStyle>
            <a:lvl1pPr algn="ctr" rtl="0">
              <a:defRPr sz="3999" b="1" cap="none" baseline="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71531" y="3695024"/>
            <a:ext cx="8400000" cy="720000"/>
          </a:xfrm>
        </p:spPr>
        <p:txBody>
          <a:bodyPr anchor="t" anchorCtr="0">
            <a:noAutofit/>
          </a:bodyPr>
          <a:lstStyle>
            <a:lvl1pPr marL="0" indent="0" algn="ctr" rtl="0">
              <a:buNone/>
              <a:defRPr sz="1999" b="1">
                <a:solidFill>
                  <a:schemeClr val="bg1"/>
                </a:solidFill>
                <a:latin typeface="+mj-lt"/>
              </a:defRPr>
            </a:lvl1pPr>
            <a:lvl2pPr marL="544225" indent="0">
              <a:buNone/>
              <a:defRPr sz="2099">
                <a:solidFill>
                  <a:schemeClr val="tx1">
                    <a:tint val="75000"/>
                  </a:schemeClr>
                </a:solidFill>
              </a:defRPr>
            </a:lvl2pPr>
            <a:lvl3pPr marL="1088449" indent="0">
              <a:buNone/>
              <a:defRPr sz="1899">
                <a:solidFill>
                  <a:schemeClr val="tx1">
                    <a:tint val="75000"/>
                  </a:schemeClr>
                </a:solidFill>
              </a:defRPr>
            </a:lvl3pPr>
            <a:lvl4pPr marL="1632674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4pPr>
            <a:lvl5pPr marL="2176899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5pPr>
            <a:lvl6pPr marL="2721123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6pPr>
            <a:lvl7pPr marL="3265348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7pPr>
            <a:lvl8pPr marL="3809573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8pPr>
            <a:lvl9pPr marL="4353797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7" name="Pulse">
            <a:extLst>
              <a:ext uri="{FF2B5EF4-FFF2-40B4-BE49-F238E27FC236}">
                <a16:creationId xmlns:a16="http://schemas.microsoft.com/office/drawing/2014/main" id="{C68BB270-0180-6C0D-F35A-670CC32C7A89}"/>
              </a:ext>
            </a:extLst>
          </p:cNvPr>
          <p:cNvGrpSpPr/>
          <p:nvPr userDrawn="1"/>
        </p:nvGrpSpPr>
        <p:grpSpPr>
          <a:xfrm>
            <a:off x="9554960" y="3629467"/>
            <a:ext cx="2640213" cy="2674343"/>
            <a:chOff x="8751888" y="3030538"/>
            <a:chExt cx="3446462" cy="3490913"/>
          </a:xfrm>
          <a:solidFill>
            <a:schemeClr val="bg2"/>
          </a:soli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5AEDEF5-EF6A-3786-1898-11A7B4D67D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sz="1799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B48B5423-D79D-A870-B332-830D2CFD4B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sz="1799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A215C7BC-AD3A-FDA5-BBE4-2B07E79DE7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sz="1799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84170E1D-4367-1F8D-BE5A-1664CACBE6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sz="1799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EDD0BCCE-1016-C6D6-53F2-8F48EED1C2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sz="1799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E4A903BB-B536-932E-3CCC-D8E81E7871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sz="1799"/>
            </a:p>
          </p:txBody>
        </p:sp>
      </p:grpSp>
    </p:spTree>
    <p:extLst>
      <p:ext uri="{BB962C8B-B14F-4D97-AF65-F5344CB8AC3E}">
        <p14:creationId xmlns:p14="http://schemas.microsoft.com/office/powerpoint/2010/main" val="2254960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 Blue">
    <p:bg>
      <p:bgPr>
        <a:solidFill>
          <a:srgbClr val="E5F2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21A076D-DE65-52BB-AA31-50C3B309DE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9116355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1A076D-DE65-52BB-AA31-50C3B309DE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42940" y="2135331"/>
            <a:ext cx="5238081" cy="2449473"/>
          </a:xfrm>
        </p:spPr>
        <p:txBody>
          <a:bodyPr vert="horz">
            <a:noAutofit/>
          </a:bodyPr>
          <a:lstStyle>
            <a:lvl1pPr algn="l" rtl="0">
              <a:defRPr sz="3999" b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/>
              <a:t>Click and type quote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242939" y="4800505"/>
            <a:ext cx="5238081" cy="539875"/>
          </a:xfrm>
        </p:spPr>
        <p:txBody>
          <a:bodyPr>
            <a:noAutofit/>
          </a:bodyPr>
          <a:lstStyle>
            <a:lvl1pPr marL="0" indent="0" algn="l" rtl="0">
              <a:buFontTx/>
              <a:buNone/>
              <a:defRPr b="0">
                <a:solidFill>
                  <a:schemeClr val="accent1"/>
                </a:solidFill>
              </a:defRPr>
            </a:lvl1pPr>
            <a:lvl2pPr marL="257114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228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343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456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14" name="Quote">
            <a:extLst>
              <a:ext uri="{FF2B5EF4-FFF2-40B4-BE49-F238E27FC236}">
                <a16:creationId xmlns:a16="http://schemas.microsoft.com/office/drawing/2014/main" id="{36288991-A23D-A2A3-792C-522E9B30EAE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14279" y="639458"/>
            <a:ext cx="2291119" cy="1547642"/>
            <a:chOff x="2817011" y="265837"/>
            <a:chExt cx="2614377" cy="1765949"/>
          </a:xfrm>
          <a:solidFill>
            <a:schemeClr val="accent3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346AE66-BCC3-63A1-734B-97BBE232913B}"/>
                </a:ext>
              </a:extLst>
            </p:cNvPr>
            <p:cNvSpPr/>
            <p:nvPr/>
          </p:nvSpPr>
          <p:spPr>
            <a:xfrm>
              <a:off x="2817011" y="265837"/>
              <a:ext cx="1236586" cy="1765949"/>
            </a:xfrm>
            <a:custGeom>
              <a:avLst/>
              <a:gdLst>
                <a:gd name="connsiteX0" fmla="*/ 1212545 w 1236586"/>
                <a:gd name="connsiteY0" fmla="*/ 482239 h 1765949"/>
                <a:gd name="connsiteX1" fmla="*/ 933272 w 1236586"/>
                <a:gd name="connsiteY1" fmla="*/ 98000 h 1765949"/>
                <a:gd name="connsiteX2" fmla="*/ 391109 w 1236586"/>
                <a:gd name="connsiteY2" fmla="*/ 29611 h 1765949"/>
                <a:gd name="connsiteX3" fmla="*/ 41732 w 1236586"/>
                <a:gd name="connsiteY3" fmla="*/ 331839 h 1765949"/>
                <a:gd name="connsiteX4" fmla="*/ 76879 w 1236586"/>
                <a:gd name="connsiteY4" fmla="*/ 772275 h 1765949"/>
                <a:gd name="connsiteX5" fmla="*/ 291287 w 1236586"/>
                <a:gd name="connsiteY5" fmla="*/ 947249 h 1765949"/>
                <a:gd name="connsiteX6" fmla="*/ 598373 w 1236586"/>
                <a:gd name="connsiteY6" fmla="*/ 984683 h 1765949"/>
                <a:gd name="connsiteX7" fmla="*/ 415016 w 1236586"/>
                <a:gd name="connsiteY7" fmla="*/ 1376636 h 1765949"/>
                <a:gd name="connsiteX8" fmla="*/ 197561 w 1236586"/>
                <a:gd name="connsiteY8" fmla="*/ 1504938 h 1765949"/>
                <a:gd name="connsiteX9" fmla="*/ 264902 w 1236586"/>
                <a:gd name="connsiteY9" fmla="*/ 1643717 h 1765949"/>
                <a:gd name="connsiteX10" fmla="*/ 308146 w 1236586"/>
                <a:gd name="connsiteY10" fmla="*/ 1732871 h 1765949"/>
                <a:gd name="connsiteX11" fmla="*/ 324338 w 1236586"/>
                <a:gd name="connsiteY11" fmla="*/ 1765733 h 1765949"/>
                <a:gd name="connsiteX12" fmla="*/ 338150 w 1236586"/>
                <a:gd name="connsiteY12" fmla="*/ 1762494 h 1765949"/>
                <a:gd name="connsiteX13" fmla="*/ 371011 w 1236586"/>
                <a:gd name="connsiteY13" fmla="*/ 1753731 h 1765949"/>
                <a:gd name="connsiteX14" fmla="*/ 481406 w 1236586"/>
                <a:gd name="connsiteY14" fmla="*/ 1716965 h 1765949"/>
                <a:gd name="connsiteX15" fmla="*/ 806780 w 1236586"/>
                <a:gd name="connsiteY15" fmla="*/ 1542086 h 1765949"/>
                <a:gd name="connsiteX16" fmla="*/ 1115771 w 1236586"/>
                <a:gd name="connsiteY16" fmla="*/ 1192518 h 1765949"/>
                <a:gd name="connsiteX17" fmla="*/ 1207592 w 1236586"/>
                <a:gd name="connsiteY17" fmla="*/ 937629 h 1765949"/>
                <a:gd name="connsiteX18" fmla="*/ 1229594 w 1236586"/>
                <a:gd name="connsiteY18" fmla="*/ 567869 h 1765949"/>
                <a:gd name="connsiteX19" fmla="*/ 1212545 w 1236586"/>
                <a:gd name="connsiteY19" fmla="*/ 482048 h 176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6586" h="1765949">
                  <a:moveTo>
                    <a:pt x="1212545" y="482239"/>
                  </a:moveTo>
                  <a:cubicBezTo>
                    <a:pt x="1179112" y="321743"/>
                    <a:pt x="1071098" y="183725"/>
                    <a:pt x="933272" y="98000"/>
                  </a:cubicBezTo>
                  <a:cubicBezTo>
                    <a:pt x="771347" y="-2774"/>
                    <a:pt x="572655" y="-26301"/>
                    <a:pt x="391109" y="29611"/>
                  </a:cubicBezTo>
                  <a:cubicBezTo>
                    <a:pt x="241185" y="75807"/>
                    <a:pt x="106978" y="188678"/>
                    <a:pt x="41732" y="331839"/>
                  </a:cubicBezTo>
                  <a:cubicBezTo>
                    <a:pt x="-23324" y="474524"/>
                    <a:pt x="-12847" y="642354"/>
                    <a:pt x="76879" y="772275"/>
                  </a:cubicBezTo>
                  <a:cubicBezTo>
                    <a:pt x="129838" y="848951"/>
                    <a:pt x="204038" y="912674"/>
                    <a:pt x="291287" y="947249"/>
                  </a:cubicBezTo>
                  <a:cubicBezTo>
                    <a:pt x="387299" y="985254"/>
                    <a:pt x="496169" y="997732"/>
                    <a:pt x="598373" y="984683"/>
                  </a:cubicBezTo>
                  <a:cubicBezTo>
                    <a:pt x="608183" y="1133082"/>
                    <a:pt x="523792" y="1282244"/>
                    <a:pt x="415016" y="1376636"/>
                  </a:cubicBezTo>
                  <a:cubicBezTo>
                    <a:pt x="351008" y="1432167"/>
                    <a:pt x="276047" y="1473791"/>
                    <a:pt x="197561" y="1504938"/>
                  </a:cubicBezTo>
                  <a:cubicBezTo>
                    <a:pt x="220040" y="1551230"/>
                    <a:pt x="242423" y="1597521"/>
                    <a:pt x="264902" y="1643717"/>
                  </a:cubicBezTo>
                  <a:cubicBezTo>
                    <a:pt x="279285" y="1673435"/>
                    <a:pt x="293763" y="1703153"/>
                    <a:pt x="308146" y="1732871"/>
                  </a:cubicBezTo>
                  <a:cubicBezTo>
                    <a:pt x="310908" y="1738491"/>
                    <a:pt x="318433" y="1763161"/>
                    <a:pt x="324338" y="1765733"/>
                  </a:cubicBezTo>
                  <a:cubicBezTo>
                    <a:pt x="326815" y="1766876"/>
                    <a:pt x="335578" y="1763161"/>
                    <a:pt x="338150" y="1762494"/>
                  </a:cubicBezTo>
                  <a:cubicBezTo>
                    <a:pt x="349199" y="1759827"/>
                    <a:pt x="360152" y="1756874"/>
                    <a:pt x="371011" y="1753731"/>
                  </a:cubicBezTo>
                  <a:cubicBezTo>
                    <a:pt x="408349" y="1743158"/>
                    <a:pt x="445115" y="1730776"/>
                    <a:pt x="481406" y="1716965"/>
                  </a:cubicBezTo>
                  <a:cubicBezTo>
                    <a:pt x="596753" y="1673150"/>
                    <a:pt x="707148" y="1614952"/>
                    <a:pt x="806780" y="1542086"/>
                  </a:cubicBezTo>
                  <a:cubicBezTo>
                    <a:pt x="933462" y="1449407"/>
                    <a:pt x="1041952" y="1331583"/>
                    <a:pt x="1115771" y="1192518"/>
                  </a:cubicBezTo>
                  <a:cubicBezTo>
                    <a:pt x="1158252" y="1112413"/>
                    <a:pt x="1188923" y="1026307"/>
                    <a:pt x="1207592" y="937629"/>
                  </a:cubicBezTo>
                  <a:cubicBezTo>
                    <a:pt x="1232833" y="817709"/>
                    <a:pt x="1245406" y="689693"/>
                    <a:pt x="1229594" y="567869"/>
                  </a:cubicBezTo>
                  <a:cubicBezTo>
                    <a:pt x="1225784" y="538913"/>
                    <a:pt x="1220355" y="510147"/>
                    <a:pt x="1212545" y="482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sz="1799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75C50E4-F6DE-940D-DE91-F853D2F0A642}"/>
                </a:ext>
              </a:extLst>
            </p:cNvPr>
            <p:cNvSpPr/>
            <p:nvPr/>
          </p:nvSpPr>
          <p:spPr>
            <a:xfrm>
              <a:off x="4194682" y="265837"/>
              <a:ext cx="1236706" cy="1765949"/>
            </a:xfrm>
            <a:custGeom>
              <a:avLst/>
              <a:gdLst>
                <a:gd name="connsiteX0" fmla="*/ 1212665 w 1236706"/>
                <a:gd name="connsiteY0" fmla="*/ 482239 h 1765949"/>
                <a:gd name="connsiteX1" fmla="*/ 933392 w 1236706"/>
                <a:gd name="connsiteY1" fmla="*/ 98000 h 1765949"/>
                <a:gd name="connsiteX2" fmla="*/ 391229 w 1236706"/>
                <a:gd name="connsiteY2" fmla="*/ 29611 h 1765949"/>
                <a:gd name="connsiteX3" fmla="*/ 41852 w 1236706"/>
                <a:gd name="connsiteY3" fmla="*/ 331839 h 1765949"/>
                <a:gd name="connsiteX4" fmla="*/ 76999 w 1236706"/>
                <a:gd name="connsiteY4" fmla="*/ 772275 h 1765949"/>
                <a:gd name="connsiteX5" fmla="*/ 291407 w 1236706"/>
                <a:gd name="connsiteY5" fmla="*/ 947249 h 1765949"/>
                <a:gd name="connsiteX6" fmla="*/ 598493 w 1236706"/>
                <a:gd name="connsiteY6" fmla="*/ 984683 h 1765949"/>
                <a:gd name="connsiteX7" fmla="*/ 415137 w 1236706"/>
                <a:gd name="connsiteY7" fmla="*/ 1376636 h 1765949"/>
                <a:gd name="connsiteX8" fmla="*/ 197681 w 1236706"/>
                <a:gd name="connsiteY8" fmla="*/ 1504938 h 1765949"/>
                <a:gd name="connsiteX9" fmla="*/ 265023 w 1236706"/>
                <a:gd name="connsiteY9" fmla="*/ 1643717 h 1765949"/>
                <a:gd name="connsiteX10" fmla="*/ 308266 w 1236706"/>
                <a:gd name="connsiteY10" fmla="*/ 1732871 h 1765949"/>
                <a:gd name="connsiteX11" fmla="*/ 324459 w 1236706"/>
                <a:gd name="connsiteY11" fmla="*/ 1765733 h 1765949"/>
                <a:gd name="connsiteX12" fmla="*/ 338270 w 1236706"/>
                <a:gd name="connsiteY12" fmla="*/ 1762494 h 1765949"/>
                <a:gd name="connsiteX13" fmla="*/ 371131 w 1236706"/>
                <a:gd name="connsiteY13" fmla="*/ 1753731 h 1765949"/>
                <a:gd name="connsiteX14" fmla="*/ 481526 w 1236706"/>
                <a:gd name="connsiteY14" fmla="*/ 1716965 h 1765949"/>
                <a:gd name="connsiteX15" fmla="*/ 806900 w 1236706"/>
                <a:gd name="connsiteY15" fmla="*/ 1542086 h 1765949"/>
                <a:gd name="connsiteX16" fmla="*/ 1115891 w 1236706"/>
                <a:gd name="connsiteY16" fmla="*/ 1192518 h 1765949"/>
                <a:gd name="connsiteX17" fmla="*/ 1207712 w 1236706"/>
                <a:gd name="connsiteY17" fmla="*/ 937629 h 1765949"/>
                <a:gd name="connsiteX18" fmla="*/ 1229715 w 1236706"/>
                <a:gd name="connsiteY18" fmla="*/ 567869 h 1765949"/>
                <a:gd name="connsiteX19" fmla="*/ 1212665 w 1236706"/>
                <a:gd name="connsiteY19" fmla="*/ 482048 h 176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6706" h="1765949">
                  <a:moveTo>
                    <a:pt x="1212665" y="482239"/>
                  </a:moveTo>
                  <a:cubicBezTo>
                    <a:pt x="1179232" y="321743"/>
                    <a:pt x="1071219" y="183725"/>
                    <a:pt x="933392" y="98000"/>
                  </a:cubicBezTo>
                  <a:cubicBezTo>
                    <a:pt x="771467" y="-2774"/>
                    <a:pt x="572871" y="-26301"/>
                    <a:pt x="391229" y="29611"/>
                  </a:cubicBezTo>
                  <a:cubicBezTo>
                    <a:pt x="241305" y="75807"/>
                    <a:pt x="107193" y="188678"/>
                    <a:pt x="41852" y="331839"/>
                  </a:cubicBezTo>
                  <a:cubicBezTo>
                    <a:pt x="-23490" y="475000"/>
                    <a:pt x="-12726" y="642354"/>
                    <a:pt x="76999" y="772275"/>
                  </a:cubicBezTo>
                  <a:cubicBezTo>
                    <a:pt x="129958" y="848951"/>
                    <a:pt x="204158" y="912674"/>
                    <a:pt x="291407" y="947249"/>
                  </a:cubicBezTo>
                  <a:cubicBezTo>
                    <a:pt x="387419" y="985254"/>
                    <a:pt x="496290" y="997732"/>
                    <a:pt x="598493" y="984683"/>
                  </a:cubicBezTo>
                  <a:cubicBezTo>
                    <a:pt x="608304" y="1133082"/>
                    <a:pt x="523912" y="1282244"/>
                    <a:pt x="415137" y="1376636"/>
                  </a:cubicBezTo>
                  <a:cubicBezTo>
                    <a:pt x="351129" y="1432167"/>
                    <a:pt x="276167" y="1473791"/>
                    <a:pt x="197681" y="1504938"/>
                  </a:cubicBezTo>
                  <a:cubicBezTo>
                    <a:pt x="220160" y="1551230"/>
                    <a:pt x="242544" y="1597521"/>
                    <a:pt x="265023" y="1643717"/>
                  </a:cubicBezTo>
                  <a:cubicBezTo>
                    <a:pt x="279406" y="1673435"/>
                    <a:pt x="293884" y="1703153"/>
                    <a:pt x="308266" y="1732871"/>
                  </a:cubicBezTo>
                  <a:cubicBezTo>
                    <a:pt x="311028" y="1738491"/>
                    <a:pt x="318553" y="1763161"/>
                    <a:pt x="324459" y="1765733"/>
                  </a:cubicBezTo>
                  <a:cubicBezTo>
                    <a:pt x="326935" y="1766876"/>
                    <a:pt x="335698" y="1763161"/>
                    <a:pt x="338270" y="1762494"/>
                  </a:cubicBezTo>
                  <a:cubicBezTo>
                    <a:pt x="349319" y="1759827"/>
                    <a:pt x="360273" y="1756874"/>
                    <a:pt x="371131" y="1753731"/>
                  </a:cubicBezTo>
                  <a:cubicBezTo>
                    <a:pt x="408469" y="1743158"/>
                    <a:pt x="445236" y="1730776"/>
                    <a:pt x="481526" y="1716965"/>
                  </a:cubicBezTo>
                  <a:cubicBezTo>
                    <a:pt x="596874" y="1673150"/>
                    <a:pt x="707268" y="1614952"/>
                    <a:pt x="806900" y="1542086"/>
                  </a:cubicBezTo>
                  <a:cubicBezTo>
                    <a:pt x="933582" y="1449407"/>
                    <a:pt x="1042072" y="1331583"/>
                    <a:pt x="1115891" y="1192518"/>
                  </a:cubicBezTo>
                  <a:cubicBezTo>
                    <a:pt x="1158373" y="1112413"/>
                    <a:pt x="1189043" y="1026307"/>
                    <a:pt x="1207712" y="937629"/>
                  </a:cubicBezTo>
                  <a:cubicBezTo>
                    <a:pt x="1232953" y="817709"/>
                    <a:pt x="1245526" y="689693"/>
                    <a:pt x="1229715" y="567869"/>
                  </a:cubicBezTo>
                  <a:cubicBezTo>
                    <a:pt x="1225905" y="538913"/>
                    <a:pt x="1220475" y="510147"/>
                    <a:pt x="1212665" y="482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sz="1799"/>
            </a:p>
          </p:txBody>
        </p:sp>
      </p:grpSp>
    </p:spTree>
    <p:extLst>
      <p:ext uri="{BB962C8B-B14F-4D97-AF65-F5344CB8AC3E}">
        <p14:creationId xmlns:p14="http://schemas.microsoft.com/office/powerpoint/2010/main" val="1164877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Nordea Blue">
    <p:bg>
      <p:bgPr>
        <a:solidFill>
          <a:srgbClr val="0000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7831" y="1337952"/>
            <a:ext cx="5434585" cy="2472277"/>
          </a:xfrm>
        </p:spPr>
        <p:txBody>
          <a:bodyPr>
            <a:noAutofit/>
          </a:bodyPr>
          <a:lstStyle>
            <a:lvl1pPr>
              <a:defRPr sz="3999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7831" y="4295182"/>
            <a:ext cx="5434585" cy="360000"/>
          </a:xfrm>
        </p:spPr>
        <p:txBody>
          <a:bodyPr>
            <a:noAutofit/>
          </a:bodyPr>
          <a:lstStyle>
            <a:lvl1pPr marL="0" indent="0" algn="l">
              <a:buNone/>
              <a:defRPr sz="1799" b="1">
                <a:solidFill>
                  <a:srgbClr val="FFFFFF"/>
                </a:solidFill>
                <a:latin typeface="+mj-lt"/>
              </a:defRPr>
            </a:lvl1pPr>
            <a:lvl2pPr marL="544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7831" y="4773443"/>
            <a:ext cx="5434585" cy="21595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rgbClr val="FFFFFF"/>
                </a:solidFill>
              </a:defRPr>
            </a:lvl1pPr>
            <a:lvl2pPr marL="257114" indent="0">
              <a:buNone/>
              <a:defRPr>
                <a:solidFill>
                  <a:schemeClr val="accent2"/>
                </a:solidFill>
              </a:defRPr>
            </a:lvl2pPr>
            <a:lvl3pPr marL="514228" indent="0">
              <a:buNone/>
              <a:defRPr>
                <a:solidFill>
                  <a:schemeClr val="accent2"/>
                </a:solidFill>
              </a:defRPr>
            </a:lvl3pPr>
            <a:lvl4pPr marL="771343" indent="0">
              <a:buNone/>
              <a:defRPr>
                <a:solidFill>
                  <a:schemeClr val="accent2"/>
                </a:solidFill>
              </a:defRPr>
            </a:lvl4pPr>
            <a:lvl5pPr marL="1028456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7831" y="5025384"/>
            <a:ext cx="5434585" cy="21595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rgbClr val="FFFFFF"/>
                </a:solidFill>
              </a:defRPr>
            </a:lvl1pPr>
            <a:lvl2pPr marL="257114" indent="0">
              <a:buNone/>
              <a:defRPr>
                <a:solidFill>
                  <a:schemeClr val="accent2"/>
                </a:solidFill>
              </a:defRPr>
            </a:lvl2pPr>
            <a:lvl3pPr marL="514228" indent="0">
              <a:buNone/>
              <a:defRPr>
                <a:solidFill>
                  <a:schemeClr val="accent2"/>
                </a:solidFill>
              </a:defRPr>
            </a:lvl3pPr>
            <a:lvl4pPr marL="771343" indent="0">
              <a:buNone/>
              <a:defRPr>
                <a:solidFill>
                  <a:schemeClr val="accent2"/>
                </a:solidFill>
              </a:defRPr>
            </a:lvl4pPr>
            <a:lvl5pPr marL="1028456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7" name="Pulse"/>
          <p:cNvGrpSpPr/>
          <p:nvPr userDrawn="1"/>
        </p:nvGrpSpPr>
        <p:grpSpPr>
          <a:xfrm>
            <a:off x="6963033" y="940881"/>
            <a:ext cx="5230670" cy="5298286"/>
            <a:chOff x="8751888" y="3030538"/>
            <a:chExt cx="3446462" cy="3490913"/>
          </a:xfrm>
          <a:solidFill>
            <a:srgbClr val="0000FF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sp>
        <p:nvSpPr>
          <p:cNvPr id="4" name="Logotype">
            <a:extLst>
              <a:ext uri="{FF2B5EF4-FFF2-40B4-BE49-F238E27FC236}">
                <a16:creationId xmlns:a16="http://schemas.microsoft.com/office/drawing/2014/main" id="{6A1547BB-290B-9302-EA1B-3A107CE0112D}"/>
              </a:ext>
            </a:extLst>
          </p:cNvPr>
          <p:cNvSpPr>
            <a:spLocks noChangeAspect="1"/>
          </p:cNvSpPr>
          <p:nvPr userDrawn="1"/>
        </p:nvSpPr>
        <p:spPr>
          <a:xfrm>
            <a:off x="641183" y="530768"/>
            <a:ext cx="1385639" cy="288790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1460188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C8710F1-4DD2-81BA-33C4-3C116F37D8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0195925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8710F1-4DD2-81BA-33C4-3C116F37D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42940" y="2135331"/>
            <a:ext cx="5238081" cy="2449473"/>
          </a:xfrm>
        </p:spPr>
        <p:txBody>
          <a:bodyPr vert="horz">
            <a:noAutofit/>
          </a:bodyPr>
          <a:lstStyle>
            <a:lvl1pPr algn="l" rtl="0">
              <a:defRPr sz="3999" b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GB"/>
              <a:t>Click and type quote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242939" y="4800505"/>
            <a:ext cx="5238081" cy="539875"/>
          </a:xfrm>
        </p:spPr>
        <p:txBody>
          <a:bodyPr>
            <a:noAutofit/>
          </a:bodyPr>
          <a:lstStyle>
            <a:lvl1pPr marL="0" indent="0" algn="l" rtl="0">
              <a:buFontTx/>
              <a:buNone/>
              <a:defRPr b="0">
                <a:solidFill>
                  <a:schemeClr val="accent4"/>
                </a:solidFill>
              </a:defRPr>
            </a:lvl1pPr>
            <a:lvl2pPr marL="257114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228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343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456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14" name="Quote">
            <a:extLst>
              <a:ext uri="{FF2B5EF4-FFF2-40B4-BE49-F238E27FC236}">
                <a16:creationId xmlns:a16="http://schemas.microsoft.com/office/drawing/2014/main" id="{36288991-A23D-A2A3-792C-522E9B30EAE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14279" y="639458"/>
            <a:ext cx="2291119" cy="1547642"/>
            <a:chOff x="2817011" y="265837"/>
            <a:chExt cx="2614377" cy="1765949"/>
          </a:xfrm>
          <a:solidFill>
            <a:schemeClr val="bg2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346AE66-BCC3-63A1-734B-97BBE232913B}"/>
                </a:ext>
              </a:extLst>
            </p:cNvPr>
            <p:cNvSpPr/>
            <p:nvPr/>
          </p:nvSpPr>
          <p:spPr>
            <a:xfrm>
              <a:off x="2817011" y="265837"/>
              <a:ext cx="1236586" cy="1765949"/>
            </a:xfrm>
            <a:custGeom>
              <a:avLst/>
              <a:gdLst>
                <a:gd name="connsiteX0" fmla="*/ 1212545 w 1236586"/>
                <a:gd name="connsiteY0" fmla="*/ 482239 h 1765949"/>
                <a:gd name="connsiteX1" fmla="*/ 933272 w 1236586"/>
                <a:gd name="connsiteY1" fmla="*/ 98000 h 1765949"/>
                <a:gd name="connsiteX2" fmla="*/ 391109 w 1236586"/>
                <a:gd name="connsiteY2" fmla="*/ 29611 h 1765949"/>
                <a:gd name="connsiteX3" fmla="*/ 41732 w 1236586"/>
                <a:gd name="connsiteY3" fmla="*/ 331839 h 1765949"/>
                <a:gd name="connsiteX4" fmla="*/ 76879 w 1236586"/>
                <a:gd name="connsiteY4" fmla="*/ 772275 h 1765949"/>
                <a:gd name="connsiteX5" fmla="*/ 291287 w 1236586"/>
                <a:gd name="connsiteY5" fmla="*/ 947249 h 1765949"/>
                <a:gd name="connsiteX6" fmla="*/ 598373 w 1236586"/>
                <a:gd name="connsiteY6" fmla="*/ 984683 h 1765949"/>
                <a:gd name="connsiteX7" fmla="*/ 415016 w 1236586"/>
                <a:gd name="connsiteY7" fmla="*/ 1376636 h 1765949"/>
                <a:gd name="connsiteX8" fmla="*/ 197561 w 1236586"/>
                <a:gd name="connsiteY8" fmla="*/ 1504938 h 1765949"/>
                <a:gd name="connsiteX9" fmla="*/ 264902 w 1236586"/>
                <a:gd name="connsiteY9" fmla="*/ 1643717 h 1765949"/>
                <a:gd name="connsiteX10" fmla="*/ 308146 w 1236586"/>
                <a:gd name="connsiteY10" fmla="*/ 1732871 h 1765949"/>
                <a:gd name="connsiteX11" fmla="*/ 324338 w 1236586"/>
                <a:gd name="connsiteY11" fmla="*/ 1765733 h 1765949"/>
                <a:gd name="connsiteX12" fmla="*/ 338150 w 1236586"/>
                <a:gd name="connsiteY12" fmla="*/ 1762494 h 1765949"/>
                <a:gd name="connsiteX13" fmla="*/ 371011 w 1236586"/>
                <a:gd name="connsiteY13" fmla="*/ 1753731 h 1765949"/>
                <a:gd name="connsiteX14" fmla="*/ 481406 w 1236586"/>
                <a:gd name="connsiteY14" fmla="*/ 1716965 h 1765949"/>
                <a:gd name="connsiteX15" fmla="*/ 806780 w 1236586"/>
                <a:gd name="connsiteY15" fmla="*/ 1542086 h 1765949"/>
                <a:gd name="connsiteX16" fmla="*/ 1115771 w 1236586"/>
                <a:gd name="connsiteY16" fmla="*/ 1192518 h 1765949"/>
                <a:gd name="connsiteX17" fmla="*/ 1207592 w 1236586"/>
                <a:gd name="connsiteY17" fmla="*/ 937629 h 1765949"/>
                <a:gd name="connsiteX18" fmla="*/ 1229594 w 1236586"/>
                <a:gd name="connsiteY18" fmla="*/ 567869 h 1765949"/>
                <a:gd name="connsiteX19" fmla="*/ 1212545 w 1236586"/>
                <a:gd name="connsiteY19" fmla="*/ 482048 h 176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6586" h="1765949">
                  <a:moveTo>
                    <a:pt x="1212545" y="482239"/>
                  </a:moveTo>
                  <a:cubicBezTo>
                    <a:pt x="1179112" y="321743"/>
                    <a:pt x="1071098" y="183725"/>
                    <a:pt x="933272" y="98000"/>
                  </a:cubicBezTo>
                  <a:cubicBezTo>
                    <a:pt x="771347" y="-2774"/>
                    <a:pt x="572655" y="-26301"/>
                    <a:pt x="391109" y="29611"/>
                  </a:cubicBezTo>
                  <a:cubicBezTo>
                    <a:pt x="241185" y="75807"/>
                    <a:pt x="106978" y="188678"/>
                    <a:pt x="41732" y="331839"/>
                  </a:cubicBezTo>
                  <a:cubicBezTo>
                    <a:pt x="-23324" y="474524"/>
                    <a:pt x="-12847" y="642354"/>
                    <a:pt x="76879" y="772275"/>
                  </a:cubicBezTo>
                  <a:cubicBezTo>
                    <a:pt x="129838" y="848951"/>
                    <a:pt x="204038" y="912674"/>
                    <a:pt x="291287" y="947249"/>
                  </a:cubicBezTo>
                  <a:cubicBezTo>
                    <a:pt x="387299" y="985254"/>
                    <a:pt x="496169" y="997732"/>
                    <a:pt x="598373" y="984683"/>
                  </a:cubicBezTo>
                  <a:cubicBezTo>
                    <a:pt x="608183" y="1133082"/>
                    <a:pt x="523792" y="1282244"/>
                    <a:pt x="415016" y="1376636"/>
                  </a:cubicBezTo>
                  <a:cubicBezTo>
                    <a:pt x="351008" y="1432167"/>
                    <a:pt x="276047" y="1473791"/>
                    <a:pt x="197561" y="1504938"/>
                  </a:cubicBezTo>
                  <a:cubicBezTo>
                    <a:pt x="220040" y="1551230"/>
                    <a:pt x="242423" y="1597521"/>
                    <a:pt x="264902" y="1643717"/>
                  </a:cubicBezTo>
                  <a:cubicBezTo>
                    <a:pt x="279285" y="1673435"/>
                    <a:pt x="293763" y="1703153"/>
                    <a:pt x="308146" y="1732871"/>
                  </a:cubicBezTo>
                  <a:cubicBezTo>
                    <a:pt x="310908" y="1738491"/>
                    <a:pt x="318433" y="1763161"/>
                    <a:pt x="324338" y="1765733"/>
                  </a:cubicBezTo>
                  <a:cubicBezTo>
                    <a:pt x="326815" y="1766876"/>
                    <a:pt x="335578" y="1763161"/>
                    <a:pt x="338150" y="1762494"/>
                  </a:cubicBezTo>
                  <a:cubicBezTo>
                    <a:pt x="349199" y="1759827"/>
                    <a:pt x="360152" y="1756874"/>
                    <a:pt x="371011" y="1753731"/>
                  </a:cubicBezTo>
                  <a:cubicBezTo>
                    <a:pt x="408349" y="1743158"/>
                    <a:pt x="445115" y="1730776"/>
                    <a:pt x="481406" y="1716965"/>
                  </a:cubicBezTo>
                  <a:cubicBezTo>
                    <a:pt x="596753" y="1673150"/>
                    <a:pt x="707148" y="1614952"/>
                    <a:pt x="806780" y="1542086"/>
                  </a:cubicBezTo>
                  <a:cubicBezTo>
                    <a:pt x="933462" y="1449407"/>
                    <a:pt x="1041952" y="1331583"/>
                    <a:pt x="1115771" y="1192518"/>
                  </a:cubicBezTo>
                  <a:cubicBezTo>
                    <a:pt x="1158252" y="1112413"/>
                    <a:pt x="1188923" y="1026307"/>
                    <a:pt x="1207592" y="937629"/>
                  </a:cubicBezTo>
                  <a:cubicBezTo>
                    <a:pt x="1232833" y="817709"/>
                    <a:pt x="1245406" y="689693"/>
                    <a:pt x="1229594" y="567869"/>
                  </a:cubicBezTo>
                  <a:cubicBezTo>
                    <a:pt x="1225784" y="538913"/>
                    <a:pt x="1220355" y="510147"/>
                    <a:pt x="1212545" y="482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sz="1799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75C50E4-F6DE-940D-DE91-F853D2F0A642}"/>
                </a:ext>
              </a:extLst>
            </p:cNvPr>
            <p:cNvSpPr/>
            <p:nvPr/>
          </p:nvSpPr>
          <p:spPr>
            <a:xfrm>
              <a:off x="4194682" y="265837"/>
              <a:ext cx="1236706" cy="1765949"/>
            </a:xfrm>
            <a:custGeom>
              <a:avLst/>
              <a:gdLst>
                <a:gd name="connsiteX0" fmla="*/ 1212665 w 1236706"/>
                <a:gd name="connsiteY0" fmla="*/ 482239 h 1765949"/>
                <a:gd name="connsiteX1" fmla="*/ 933392 w 1236706"/>
                <a:gd name="connsiteY1" fmla="*/ 98000 h 1765949"/>
                <a:gd name="connsiteX2" fmla="*/ 391229 w 1236706"/>
                <a:gd name="connsiteY2" fmla="*/ 29611 h 1765949"/>
                <a:gd name="connsiteX3" fmla="*/ 41852 w 1236706"/>
                <a:gd name="connsiteY3" fmla="*/ 331839 h 1765949"/>
                <a:gd name="connsiteX4" fmla="*/ 76999 w 1236706"/>
                <a:gd name="connsiteY4" fmla="*/ 772275 h 1765949"/>
                <a:gd name="connsiteX5" fmla="*/ 291407 w 1236706"/>
                <a:gd name="connsiteY5" fmla="*/ 947249 h 1765949"/>
                <a:gd name="connsiteX6" fmla="*/ 598493 w 1236706"/>
                <a:gd name="connsiteY6" fmla="*/ 984683 h 1765949"/>
                <a:gd name="connsiteX7" fmla="*/ 415137 w 1236706"/>
                <a:gd name="connsiteY7" fmla="*/ 1376636 h 1765949"/>
                <a:gd name="connsiteX8" fmla="*/ 197681 w 1236706"/>
                <a:gd name="connsiteY8" fmla="*/ 1504938 h 1765949"/>
                <a:gd name="connsiteX9" fmla="*/ 265023 w 1236706"/>
                <a:gd name="connsiteY9" fmla="*/ 1643717 h 1765949"/>
                <a:gd name="connsiteX10" fmla="*/ 308266 w 1236706"/>
                <a:gd name="connsiteY10" fmla="*/ 1732871 h 1765949"/>
                <a:gd name="connsiteX11" fmla="*/ 324459 w 1236706"/>
                <a:gd name="connsiteY11" fmla="*/ 1765733 h 1765949"/>
                <a:gd name="connsiteX12" fmla="*/ 338270 w 1236706"/>
                <a:gd name="connsiteY12" fmla="*/ 1762494 h 1765949"/>
                <a:gd name="connsiteX13" fmla="*/ 371131 w 1236706"/>
                <a:gd name="connsiteY13" fmla="*/ 1753731 h 1765949"/>
                <a:gd name="connsiteX14" fmla="*/ 481526 w 1236706"/>
                <a:gd name="connsiteY14" fmla="*/ 1716965 h 1765949"/>
                <a:gd name="connsiteX15" fmla="*/ 806900 w 1236706"/>
                <a:gd name="connsiteY15" fmla="*/ 1542086 h 1765949"/>
                <a:gd name="connsiteX16" fmla="*/ 1115891 w 1236706"/>
                <a:gd name="connsiteY16" fmla="*/ 1192518 h 1765949"/>
                <a:gd name="connsiteX17" fmla="*/ 1207712 w 1236706"/>
                <a:gd name="connsiteY17" fmla="*/ 937629 h 1765949"/>
                <a:gd name="connsiteX18" fmla="*/ 1229715 w 1236706"/>
                <a:gd name="connsiteY18" fmla="*/ 567869 h 1765949"/>
                <a:gd name="connsiteX19" fmla="*/ 1212665 w 1236706"/>
                <a:gd name="connsiteY19" fmla="*/ 482048 h 176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6706" h="1765949">
                  <a:moveTo>
                    <a:pt x="1212665" y="482239"/>
                  </a:moveTo>
                  <a:cubicBezTo>
                    <a:pt x="1179232" y="321743"/>
                    <a:pt x="1071219" y="183725"/>
                    <a:pt x="933392" y="98000"/>
                  </a:cubicBezTo>
                  <a:cubicBezTo>
                    <a:pt x="771467" y="-2774"/>
                    <a:pt x="572871" y="-26301"/>
                    <a:pt x="391229" y="29611"/>
                  </a:cubicBezTo>
                  <a:cubicBezTo>
                    <a:pt x="241305" y="75807"/>
                    <a:pt x="107193" y="188678"/>
                    <a:pt x="41852" y="331839"/>
                  </a:cubicBezTo>
                  <a:cubicBezTo>
                    <a:pt x="-23490" y="475000"/>
                    <a:pt x="-12726" y="642354"/>
                    <a:pt x="76999" y="772275"/>
                  </a:cubicBezTo>
                  <a:cubicBezTo>
                    <a:pt x="129958" y="848951"/>
                    <a:pt x="204158" y="912674"/>
                    <a:pt x="291407" y="947249"/>
                  </a:cubicBezTo>
                  <a:cubicBezTo>
                    <a:pt x="387419" y="985254"/>
                    <a:pt x="496290" y="997732"/>
                    <a:pt x="598493" y="984683"/>
                  </a:cubicBezTo>
                  <a:cubicBezTo>
                    <a:pt x="608304" y="1133082"/>
                    <a:pt x="523912" y="1282244"/>
                    <a:pt x="415137" y="1376636"/>
                  </a:cubicBezTo>
                  <a:cubicBezTo>
                    <a:pt x="351129" y="1432167"/>
                    <a:pt x="276167" y="1473791"/>
                    <a:pt x="197681" y="1504938"/>
                  </a:cubicBezTo>
                  <a:cubicBezTo>
                    <a:pt x="220160" y="1551230"/>
                    <a:pt x="242544" y="1597521"/>
                    <a:pt x="265023" y="1643717"/>
                  </a:cubicBezTo>
                  <a:cubicBezTo>
                    <a:pt x="279406" y="1673435"/>
                    <a:pt x="293884" y="1703153"/>
                    <a:pt x="308266" y="1732871"/>
                  </a:cubicBezTo>
                  <a:cubicBezTo>
                    <a:pt x="311028" y="1738491"/>
                    <a:pt x="318553" y="1763161"/>
                    <a:pt x="324459" y="1765733"/>
                  </a:cubicBezTo>
                  <a:cubicBezTo>
                    <a:pt x="326935" y="1766876"/>
                    <a:pt x="335698" y="1763161"/>
                    <a:pt x="338270" y="1762494"/>
                  </a:cubicBezTo>
                  <a:cubicBezTo>
                    <a:pt x="349319" y="1759827"/>
                    <a:pt x="360273" y="1756874"/>
                    <a:pt x="371131" y="1753731"/>
                  </a:cubicBezTo>
                  <a:cubicBezTo>
                    <a:pt x="408469" y="1743158"/>
                    <a:pt x="445236" y="1730776"/>
                    <a:pt x="481526" y="1716965"/>
                  </a:cubicBezTo>
                  <a:cubicBezTo>
                    <a:pt x="596874" y="1673150"/>
                    <a:pt x="707268" y="1614952"/>
                    <a:pt x="806900" y="1542086"/>
                  </a:cubicBezTo>
                  <a:cubicBezTo>
                    <a:pt x="933582" y="1449407"/>
                    <a:pt x="1042072" y="1331583"/>
                    <a:pt x="1115891" y="1192518"/>
                  </a:cubicBezTo>
                  <a:cubicBezTo>
                    <a:pt x="1158373" y="1112413"/>
                    <a:pt x="1189043" y="1026307"/>
                    <a:pt x="1207712" y="937629"/>
                  </a:cubicBezTo>
                  <a:cubicBezTo>
                    <a:pt x="1232953" y="817709"/>
                    <a:pt x="1245526" y="689693"/>
                    <a:pt x="1229715" y="567869"/>
                  </a:cubicBezTo>
                  <a:cubicBezTo>
                    <a:pt x="1225905" y="538913"/>
                    <a:pt x="1220475" y="510147"/>
                    <a:pt x="1212665" y="482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sz="1799"/>
            </a:p>
          </p:txBody>
        </p:sp>
      </p:grpSp>
      <p:sp>
        <p:nvSpPr>
          <p:cNvPr id="15" name="Logotype, static">
            <a:extLst>
              <a:ext uri="{FF2B5EF4-FFF2-40B4-BE49-F238E27FC236}">
                <a16:creationId xmlns:a16="http://schemas.microsoft.com/office/drawing/2014/main" id="{ED491FC6-D7FC-0600-9C48-CD411A9E4887}"/>
              </a:ext>
            </a:extLst>
          </p:cNvPr>
          <p:cNvSpPr>
            <a:spLocks noChangeAspect="1"/>
          </p:cNvSpPr>
          <p:nvPr userDrawn="1"/>
        </p:nvSpPr>
        <p:spPr>
          <a:xfrm>
            <a:off x="10686776" y="6387892"/>
            <a:ext cx="863775" cy="180025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3068476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2CBA5D1-86E5-214A-AC9F-57468C06E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9073225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CBA5D1-86E5-214A-AC9F-57468C06E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7831" y="1338890"/>
            <a:ext cx="5434585" cy="1301341"/>
          </a:xfrm>
        </p:spPr>
        <p:txBody>
          <a:bodyPr vert="horz"/>
          <a:lstStyle>
            <a:lvl1pPr rtl="0">
              <a:defRPr sz="3999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7831" y="2760764"/>
            <a:ext cx="5434585" cy="1079750"/>
          </a:xfrm>
        </p:spPr>
        <p:txBody>
          <a:bodyPr/>
          <a:lstStyle>
            <a:lvl1pPr marL="0" indent="0" algn="l" rtl="0">
              <a:spcBef>
                <a:spcPts val="0"/>
              </a:spcBef>
              <a:buNone/>
              <a:defRPr sz="1999" b="1">
                <a:solidFill>
                  <a:srgbClr val="FFFFFF"/>
                </a:solidFill>
                <a:latin typeface="+mj-lt"/>
              </a:defRPr>
            </a:lvl1pPr>
            <a:lvl2pPr marL="544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47831" y="4298050"/>
            <a:ext cx="5434585" cy="825498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buNone/>
              <a:defRPr sz="1050">
                <a:solidFill>
                  <a:schemeClr val="bg1"/>
                </a:solidFill>
              </a:defRPr>
            </a:lvl1pPr>
            <a:lvl2pPr marL="257114" indent="0">
              <a:buNone/>
              <a:defRPr sz="900">
                <a:solidFill>
                  <a:schemeClr val="bg1"/>
                </a:solidFill>
              </a:defRPr>
            </a:lvl2pPr>
            <a:lvl3pPr marL="514228" indent="0">
              <a:buNone/>
              <a:defRPr sz="900">
                <a:solidFill>
                  <a:schemeClr val="bg1"/>
                </a:solidFill>
              </a:defRPr>
            </a:lvl3pPr>
            <a:lvl4pPr marL="771343" indent="0">
              <a:buNone/>
              <a:defRPr sz="900">
                <a:solidFill>
                  <a:schemeClr val="bg1"/>
                </a:solidFill>
              </a:defRPr>
            </a:lvl4pPr>
            <a:lvl5pPr marL="1028456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sclaimer text</a:t>
            </a:r>
          </a:p>
        </p:txBody>
      </p:sp>
      <p:grpSp>
        <p:nvGrpSpPr>
          <p:cNvPr id="16" name="Pulse"/>
          <p:cNvGrpSpPr/>
          <p:nvPr userDrawn="1"/>
        </p:nvGrpSpPr>
        <p:grpSpPr>
          <a:xfrm>
            <a:off x="9554960" y="3629467"/>
            <a:ext cx="2640213" cy="2674343"/>
            <a:chOff x="8751888" y="3030538"/>
            <a:chExt cx="3446462" cy="3490913"/>
          </a:xfrm>
          <a:solidFill>
            <a:schemeClr val="bg2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sz="1799"/>
            </a:p>
          </p:txBody>
        </p:sp>
        <p:sp>
          <p:nvSpPr>
            <p:cNvPr id="24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sz="1799"/>
            </a:p>
          </p:txBody>
        </p:sp>
        <p:sp>
          <p:nvSpPr>
            <p:cNvPr id="25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sz="1799"/>
            </a:p>
          </p:txBody>
        </p:sp>
        <p:sp>
          <p:nvSpPr>
            <p:cNvPr id="26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sz="1799"/>
            </a:p>
          </p:txBody>
        </p:sp>
        <p:sp>
          <p:nvSpPr>
            <p:cNvPr id="27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sz="1799"/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sz="1799"/>
            </a:p>
          </p:txBody>
        </p:sp>
      </p:grpSp>
      <p:sp>
        <p:nvSpPr>
          <p:cNvPr id="4" name="Logotype">
            <a:extLst>
              <a:ext uri="{FF2B5EF4-FFF2-40B4-BE49-F238E27FC236}">
                <a16:creationId xmlns:a16="http://schemas.microsoft.com/office/drawing/2014/main" id="{BC9B11D0-BD76-870A-786F-3ACEE61F6F86}"/>
              </a:ext>
            </a:extLst>
          </p:cNvPr>
          <p:cNvSpPr>
            <a:spLocks noChangeAspect="1"/>
          </p:cNvSpPr>
          <p:nvPr userDrawn="1"/>
        </p:nvSpPr>
        <p:spPr>
          <a:xfrm>
            <a:off x="641183" y="530768"/>
            <a:ext cx="1385639" cy="288790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1001542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7831" y="1338890"/>
            <a:ext cx="5434585" cy="2472627"/>
          </a:xfrm>
        </p:spPr>
        <p:txBody>
          <a:bodyPr>
            <a:noAutofit/>
          </a:bodyPr>
          <a:lstStyle>
            <a:lvl1pPr>
              <a:defRPr sz="3999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7831" y="4293806"/>
            <a:ext cx="5434585" cy="360000"/>
          </a:xfrm>
        </p:spPr>
        <p:txBody>
          <a:bodyPr>
            <a:noAutofit/>
          </a:bodyPr>
          <a:lstStyle>
            <a:lvl1pPr marL="0" indent="0" algn="l">
              <a:buNone/>
              <a:defRPr sz="1799" b="1">
                <a:solidFill>
                  <a:schemeClr val="accent1"/>
                </a:solidFill>
                <a:latin typeface="+mj-lt"/>
              </a:defRPr>
            </a:lvl1pPr>
            <a:lvl2pPr marL="544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7831" y="4772495"/>
            <a:ext cx="5434585" cy="21595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  <a:lvl2pPr marL="257114" indent="0">
              <a:buNone/>
              <a:defRPr>
                <a:solidFill>
                  <a:schemeClr val="accent2"/>
                </a:solidFill>
              </a:defRPr>
            </a:lvl2pPr>
            <a:lvl3pPr marL="514228" indent="0">
              <a:buNone/>
              <a:defRPr>
                <a:solidFill>
                  <a:schemeClr val="accent2"/>
                </a:solidFill>
              </a:defRPr>
            </a:lvl3pPr>
            <a:lvl4pPr marL="771343" indent="0">
              <a:buNone/>
              <a:defRPr>
                <a:solidFill>
                  <a:schemeClr val="accent2"/>
                </a:solidFill>
              </a:defRPr>
            </a:lvl4pPr>
            <a:lvl5pPr marL="1028456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7831" y="5024437"/>
            <a:ext cx="5434585" cy="21595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  <a:lvl2pPr marL="257114" indent="0">
              <a:buNone/>
              <a:defRPr>
                <a:solidFill>
                  <a:schemeClr val="accent2"/>
                </a:solidFill>
              </a:defRPr>
            </a:lvl2pPr>
            <a:lvl3pPr marL="514228" indent="0">
              <a:buNone/>
              <a:defRPr>
                <a:solidFill>
                  <a:schemeClr val="accent2"/>
                </a:solidFill>
              </a:defRPr>
            </a:lvl3pPr>
            <a:lvl4pPr marL="771343" indent="0">
              <a:buNone/>
              <a:defRPr>
                <a:solidFill>
                  <a:schemeClr val="accent2"/>
                </a:solidFill>
              </a:defRPr>
            </a:lvl4pPr>
            <a:lvl5pPr marL="1028456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0" name="Pulse">
            <a:extLst>
              <a:ext uri="{FF2B5EF4-FFF2-40B4-BE49-F238E27FC236}">
                <a16:creationId xmlns:a16="http://schemas.microsoft.com/office/drawing/2014/main" id="{5E5D37B7-0D84-24B3-1D0F-520B0EC00344}"/>
              </a:ext>
            </a:extLst>
          </p:cNvPr>
          <p:cNvGrpSpPr/>
          <p:nvPr userDrawn="1"/>
        </p:nvGrpSpPr>
        <p:grpSpPr>
          <a:xfrm>
            <a:off x="6963033" y="940881"/>
            <a:ext cx="5230670" cy="5298286"/>
            <a:chOff x="8751888" y="3030538"/>
            <a:chExt cx="3446462" cy="3490913"/>
          </a:xfrm>
          <a:solidFill>
            <a:schemeClr val="bg2"/>
          </a:solidFill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A04FB1EB-FF6E-F6B7-8991-2A63FC2A15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29AF11C8-7F8F-F7C8-62A8-CCAF6B9D75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FB5136C4-3187-35EB-C589-E310B31785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257B1AA-DAD1-3C37-DE15-09A23C883A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28A911A6-7D23-992A-499B-E8DFD0C4BE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2BFB7346-42D2-6E66-9653-1C8E1CB794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sp>
        <p:nvSpPr>
          <p:cNvPr id="5" name="Logotype">
            <a:extLst>
              <a:ext uri="{FF2B5EF4-FFF2-40B4-BE49-F238E27FC236}">
                <a16:creationId xmlns:a16="http://schemas.microsoft.com/office/drawing/2014/main" id="{8E544899-07C5-C614-769D-DA6A88187FC8}"/>
              </a:ext>
            </a:extLst>
          </p:cNvPr>
          <p:cNvSpPr>
            <a:spLocks noChangeAspect="1"/>
          </p:cNvSpPr>
          <p:nvPr userDrawn="1"/>
        </p:nvSpPr>
        <p:spPr>
          <a:xfrm>
            <a:off x="641183" y="530768"/>
            <a:ext cx="1385639" cy="288790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rgbClr val="0000A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1215400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832" y="360000"/>
            <a:ext cx="7198125" cy="72000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add agenda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7832" y="1331692"/>
            <a:ext cx="5362603" cy="4426975"/>
          </a:xfrm>
        </p:spPr>
        <p:txBody>
          <a:bodyPr>
            <a:noAutofit/>
          </a:bodyPr>
          <a:lstStyle>
            <a:lvl1pPr>
              <a:tabLst>
                <a:tab pos="5002499" algn="r"/>
              </a:tabLst>
              <a:defRPr sz="1600">
                <a:solidFill>
                  <a:schemeClr val="bg1"/>
                </a:solidFill>
              </a:defRPr>
            </a:lvl1pPr>
            <a:lvl2pPr>
              <a:tabLst>
                <a:tab pos="5002499" algn="r"/>
              </a:tabLst>
              <a:defRPr sz="1200">
                <a:solidFill>
                  <a:schemeClr val="bg1"/>
                </a:solidFill>
              </a:defRPr>
            </a:lvl2pPr>
            <a:lvl3pPr>
              <a:tabLst>
                <a:tab pos="5002499" algn="r"/>
              </a:tabLst>
              <a:defRPr sz="1200">
                <a:solidFill>
                  <a:schemeClr val="bg1"/>
                </a:solidFill>
              </a:defRPr>
            </a:lvl3pPr>
            <a:lvl4pPr>
              <a:tabLst>
                <a:tab pos="5002499" algn="r"/>
              </a:tabLst>
              <a:defRPr sz="1200">
                <a:solidFill>
                  <a:schemeClr val="bg1"/>
                </a:solidFill>
              </a:defRPr>
            </a:lvl4pPr>
            <a:lvl5pPr>
              <a:tabLst>
                <a:tab pos="5002499" algn="r"/>
              </a:tabLst>
              <a:defRPr sz="1200">
                <a:solidFill>
                  <a:schemeClr val="bg1"/>
                </a:solidFill>
              </a:defRPr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0388" y="1331692"/>
            <a:ext cx="5362603" cy="4426975"/>
          </a:xfrm>
        </p:spPr>
        <p:txBody>
          <a:bodyPr>
            <a:noAutofit/>
          </a:bodyPr>
          <a:lstStyle>
            <a:lvl1pPr>
              <a:tabLst>
                <a:tab pos="5002499" algn="r"/>
              </a:tabLst>
              <a:defRPr sz="1600">
                <a:solidFill>
                  <a:schemeClr val="bg1"/>
                </a:solidFill>
              </a:defRPr>
            </a:lvl1pPr>
            <a:lvl2pPr>
              <a:tabLst>
                <a:tab pos="5002499" algn="r"/>
              </a:tabLst>
              <a:defRPr sz="1200">
                <a:solidFill>
                  <a:schemeClr val="bg1"/>
                </a:solidFill>
              </a:defRPr>
            </a:lvl2pPr>
            <a:lvl3pPr>
              <a:tabLst>
                <a:tab pos="5002499" algn="r"/>
              </a:tabLst>
              <a:defRPr sz="1200">
                <a:solidFill>
                  <a:schemeClr val="bg1"/>
                </a:solidFill>
              </a:defRPr>
            </a:lvl3pPr>
            <a:lvl4pPr>
              <a:tabLst>
                <a:tab pos="5002499" algn="r"/>
              </a:tabLst>
              <a:defRPr sz="1200">
                <a:solidFill>
                  <a:schemeClr val="bg1"/>
                </a:solidFill>
              </a:defRPr>
            </a:lvl4pPr>
            <a:lvl5pPr>
              <a:tabLst>
                <a:tab pos="5002499" algn="r"/>
              </a:tabLst>
              <a:defRPr sz="1200">
                <a:solidFill>
                  <a:schemeClr val="bg1"/>
                </a:solidFill>
              </a:defRPr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Logotype, static">
            <a:extLst>
              <a:ext uri="{FF2B5EF4-FFF2-40B4-BE49-F238E27FC236}">
                <a16:creationId xmlns:a16="http://schemas.microsoft.com/office/drawing/2014/main" id="{17C67F4D-39A7-4665-5442-B164D1DECA70}"/>
              </a:ext>
            </a:extLst>
          </p:cNvPr>
          <p:cNvSpPr>
            <a:spLocks noChangeAspect="1"/>
          </p:cNvSpPr>
          <p:nvPr userDrawn="1"/>
        </p:nvSpPr>
        <p:spPr>
          <a:xfrm>
            <a:off x="10686776" y="6387892"/>
            <a:ext cx="863775" cy="180025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3566917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6752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Light Blue">
    <p:bg>
      <p:bgPr>
        <a:solidFill>
          <a:srgbClr val="E5F2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9970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oleObject" Target="../embeddings/oleObject2.bin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tags" Target="../tags/tag4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tags" Target="../tags/tag3.xml"/><Relationship Id="rId30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18402-C627-173F-35D9-310B93E300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251265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04" imgH="405" progId="TCLayout.ActiveDocument.1">
                  <p:embed/>
                </p:oleObj>
              </mc:Choice>
              <mc:Fallback>
                <p:oleObj name="think-cell Slide" r:id="rId30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118402-C627-173F-35D9-310B93E300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7831" y="360000"/>
            <a:ext cx="7198125" cy="72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7830" y="1331692"/>
            <a:ext cx="10905160" cy="4426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7831" y="6373543"/>
            <a:ext cx="323916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31079" y="6373575"/>
            <a:ext cx="3958969" cy="14396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cap="all" baseline="0"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  <p:sp>
        <p:nvSpPr>
          <p:cNvPr id="30" name="Logotype, static">
            <a:extLst>
              <a:ext uri="{FF2B5EF4-FFF2-40B4-BE49-F238E27FC236}">
                <a16:creationId xmlns:a16="http://schemas.microsoft.com/office/drawing/2014/main" id="{4CDFEBFF-56BA-BA38-B9E3-B6FC44861925}"/>
              </a:ext>
            </a:extLst>
          </p:cNvPr>
          <p:cNvSpPr>
            <a:spLocks noChangeAspect="1"/>
          </p:cNvSpPr>
          <p:nvPr userDrawn="1"/>
        </p:nvSpPr>
        <p:spPr>
          <a:xfrm>
            <a:off x="10686776" y="6387892"/>
            <a:ext cx="863775" cy="180025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rgbClr val="0000A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799"/>
          </a:p>
        </p:txBody>
      </p:sp>
      <p:sp>
        <p:nvSpPr>
          <p:cNvPr id="4" name="xxLanguageTextBox">
            <a:extLst>
              <a:ext uri="{FF2B5EF4-FFF2-40B4-BE49-F238E27FC236}">
                <a16:creationId xmlns:a16="http://schemas.microsoft.com/office/drawing/2014/main" id="{2BFD0DCD-3645-4E45-EDB1-65F315CC0D3A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12700" cy="1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1079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1" r:id="rId24"/>
    <p:sldLayoutId id="2147483702" r:id="rId25"/>
    <p:sldLayoutId id="2147483703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088449" rtl="0" eaLnBrk="1" latinLnBrk="0" hangingPunct="1">
        <a:spcBef>
          <a:spcPct val="0"/>
        </a:spcBef>
        <a:buNone/>
        <a:defRPr sz="1999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15422" indent="-215422" algn="l" defTabSz="1088449" rtl="0" eaLnBrk="1" latinLnBrk="0" hangingPunct="1">
        <a:spcBef>
          <a:spcPts val="1200"/>
        </a:spcBef>
        <a:buFont typeface="Aria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471376" indent="-214262" algn="l" defTabSz="1088449" rtl="0" eaLnBrk="1" latinLnBrk="0" hangingPunct="1">
        <a:spcBef>
          <a:spcPts val="0"/>
        </a:spcBef>
        <a:buFont typeface="Arial" pitchFamily="34" charset="0"/>
        <a:buChar char="–"/>
        <a:defRPr sz="12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728489" indent="-214262" algn="l" defTabSz="1088449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985604" indent="-214262" algn="l" defTabSz="1088449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242718" indent="-214262" algn="l" defTabSz="1088449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993236" indent="-272112" algn="l" defTabSz="1088449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7460" indent="-272112" algn="l" defTabSz="1088449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81685" indent="-272112" algn="l" defTabSz="1088449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25910" indent="-272112" algn="l" defTabSz="1088449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449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225" algn="l" defTabSz="1088449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449" algn="l" defTabSz="1088449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674" algn="l" defTabSz="1088449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899" algn="l" defTabSz="1088449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1123" algn="l" defTabSz="1088449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5348" algn="l" defTabSz="1088449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9573" algn="l" defTabSz="1088449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3797" algn="l" defTabSz="1088449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408">
          <p15:clr>
            <a:srgbClr val="F26B43"/>
          </p15:clr>
        </p15:guide>
        <p15:guide id="4" pos="7284">
          <p15:clr>
            <a:srgbClr val="F26B43"/>
          </p15:clr>
        </p15:guide>
        <p15:guide id="5" orient="horz" pos="224">
          <p15:clr>
            <a:srgbClr val="F26B43"/>
          </p15:clr>
        </p15:guide>
        <p15:guide id="6" orient="horz" pos="686">
          <p15:clr>
            <a:srgbClr val="F26B43"/>
          </p15:clr>
        </p15:guide>
        <p15:guide id="7" orient="horz" pos="836">
          <p15:clr>
            <a:srgbClr val="F26B43"/>
          </p15:clr>
        </p15:guide>
        <p15:guide id="8" orient="horz" pos="363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8A110F2-43BE-6923-0A02-9BEC6E81B6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912080283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60" imgH="360" progId="TCLayout.ActiveDocument.1">
                  <p:embed/>
                </p:oleObj>
              </mc:Choice>
              <mc:Fallback>
                <p:oleObj name="think-cell Slide" r:id="rId29" imgW="360" imgH="36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A110F2-43BE-6923-0A02-9BEC6E81B6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7831" y="360000"/>
            <a:ext cx="7198125" cy="72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7830" y="1331692"/>
            <a:ext cx="10905160" cy="4426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7831" y="6373543"/>
            <a:ext cx="323916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900"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31079" y="6373575"/>
            <a:ext cx="3958969" cy="14396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900" cap="all" baseline="0"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  <p:sp>
        <p:nvSpPr>
          <p:cNvPr id="30" name="Logotype, static">
            <a:extLst>
              <a:ext uri="{FF2B5EF4-FFF2-40B4-BE49-F238E27FC236}">
                <a16:creationId xmlns:a16="http://schemas.microsoft.com/office/drawing/2014/main" id="{4CDFEBFF-56BA-BA38-B9E3-B6FC44861925}"/>
              </a:ext>
            </a:extLst>
          </p:cNvPr>
          <p:cNvSpPr>
            <a:spLocks noChangeAspect="1"/>
          </p:cNvSpPr>
          <p:nvPr userDrawn="1"/>
        </p:nvSpPr>
        <p:spPr>
          <a:xfrm>
            <a:off x="10686776" y="6387892"/>
            <a:ext cx="863775" cy="180025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rgbClr val="0000A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GB" sz="1799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BD1889F-B1CB-6ED0-701A-FF5DB019809C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783344" y="6642150"/>
            <a:ext cx="653880" cy="153888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 rtl="0"/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  <p:sp>
        <p:nvSpPr>
          <p:cNvPr id="4" name="xxLanguageTextBox">
            <a:extLst>
              <a:ext uri="{FF2B5EF4-FFF2-40B4-BE49-F238E27FC236}">
                <a16:creationId xmlns:a16="http://schemas.microsoft.com/office/drawing/2014/main" id="{8EED558B-9C87-17C9-2C72-A2B2A8F43BAE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2697" cy="12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1080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  <p:sldLayoutId id="2147483723" r:id="rId19"/>
    <p:sldLayoutId id="2147483724" r:id="rId20"/>
    <p:sldLayoutId id="2147483725" r:id="rId21"/>
    <p:sldLayoutId id="2147483726" r:id="rId22"/>
    <p:sldLayoutId id="2147483727" r:id="rId23"/>
    <p:sldLayoutId id="2147483728" r:id="rId24"/>
    <p:sldLayoutId id="2147483729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088449" rtl="0" eaLnBrk="1" latinLnBrk="0" hangingPunct="1">
        <a:spcBef>
          <a:spcPct val="0"/>
        </a:spcBef>
        <a:buNone/>
        <a:defRPr sz="1999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15422" indent="-215422" algn="l" defTabSz="1088449" rtl="0" eaLnBrk="1" latinLnBrk="0" hangingPunct="1">
        <a:spcBef>
          <a:spcPts val="1200"/>
        </a:spcBef>
        <a:buFont typeface="Aria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471376" indent="-214262" algn="l" defTabSz="1088449" rtl="0" eaLnBrk="1" latinLnBrk="0" hangingPunct="1">
        <a:spcBef>
          <a:spcPts val="0"/>
        </a:spcBef>
        <a:buFont typeface="Arial" pitchFamily="34" charset="0"/>
        <a:buChar char="–"/>
        <a:defRPr sz="12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728489" indent="-214262" algn="l" defTabSz="1088449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985604" indent="-214262" algn="l" defTabSz="1088449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242718" indent="-214262" algn="l" defTabSz="1088449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993236" indent="-272112" algn="l" defTabSz="1088449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7460" indent="-272112" algn="l" defTabSz="1088449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81685" indent="-272112" algn="l" defTabSz="1088449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25910" indent="-272112" algn="l" defTabSz="1088449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449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225" algn="l" defTabSz="1088449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449" algn="l" defTabSz="1088449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674" algn="l" defTabSz="1088449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899" algn="l" defTabSz="1088449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1123" algn="l" defTabSz="1088449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5348" algn="l" defTabSz="1088449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9573" algn="l" defTabSz="1088449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3797" algn="l" defTabSz="1088449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408">
          <p15:clr>
            <a:srgbClr val="F26B43"/>
          </p15:clr>
        </p15:guide>
        <p15:guide id="4" pos="7284">
          <p15:clr>
            <a:srgbClr val="F26B43"/>
          </p15:clr>
        </p15:guide>
        <p15:guide id="5" orient="horz" pos="224">
          <p15:clr>
            <a:srgbClr val="F26B43"/>
          </p15:clr>
        </p15:guide>
        <p15:guide id="6" orient="horz" pos="686">
          <p15:clr>
            <a:srgbClr val="F26B43"/>
          </p15:clr>
        </p15:guide>
        <p15:guide id="7" orient="horz" pos="836">
          <p15:clr>
            <a:srgbClr val="F26B43"/>
          </p15:clr>
        </p15:guide>
        <p15:guide id="8" orient="horz" pos="363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0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2.png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.jpeg"/><Relationship Id="rId4" Type="http://schemas.openxmlformats.org/officeDocument/2006/relationships/image" Target="../media/image5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openxmlformats.org/officeDocument/2006/relationships/image" Target="../media/image18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1.sv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svg"/><Relationship Id="rId4" Type="http://schemas.openxmlformats.org/officeDocument/2006/relationships/image" Target="../media/image9.svg"/><Relationship Id="rId9" Type="http://schemas.openxmlformats.org/officeDocument/2006/relationships/image" Target="../media/image14.png"/><Relationship Id="rId14" Type="http://schemas.openxmlformats.org/officeDocument/2006/relationships/image" Target="../media/image19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3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ABA2801-FEDC-1DDE-F96C-B57FDFE4D0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7387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BA2801-FEDC-1DDE-F96C-B57FDFE4D0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6BA3-BBD0-3B57-D100-7853A68F55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7832" y="5132078"/>
            <a:ext cx="9154259" cy="617778"/>
          </a:xfrm>
        </p:spPr>
        <p:txBody>
          <a:bodyPr vert="horz"/>
          <a:lstStyle/>
          <a:p>
            <a:r>
              <a:rPr lang="en-US" dirty="0"/>
              <a:t>Using AI for customer benefit and efficiency in a retail bank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DD7629-8B77-1589-4D27-4067D9749BA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7832" y="5971594"/>
            <a:ext cx="7198125" cy="215950"/>
          </a:xfrm>
        </p:spPr>
        <p:txBody>
          <a:bodyPr/>
          <a:lstStyle/>
          <a:p>
            <a:r>
              <a:rPr lang="en-GB" dirty="0"/>
              <a:t>Heikki Henttu, Head of AI and Group Technology Strategy </a:t>
            </a:r>
          </a:p>
          <a:p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907FB23-FA9D-989A-A497-BB947BE59C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832" y="6247319"/>
            <a:ext cx="7198125" cy="215950"/>
          </a:xfrm>
        </p:spPr>
        <p:txBody>
          <a:bodyPr/>
          <a:lstStyle/>
          <a:p>
            <a:r>
              <a:rPr lang="en-GB"/>
              <a:t>November 2025</a:t>
            </a:r>
          </a:p>
          <a:p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CBB5B2E-1648-E65D-10FE-3D9C01A4BBA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" name="Picture Placeholder 6" descr="A city with a body of water&#10;&#10;AI-generated content may be incorrect.">
            <a:extLst>
              <a:ext uri="{FF2B5EF4-FFF2-40B4-BE49-F238E27FC236}">
                <a16:creationId xmlns:a16="http://schemas.microsoft.com/office/drawing/2014/main" id="{31B1A34A-9FF6-A21E-6B51-CB4CFFEB7D0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229" b="14229"/>
          <a:stretch>
            <a:fillRect/>
          </a:stretch>
        </p:blipFill>
        <p:spPr>
          <a:xfrm>
            <a:off x="-1" y="-1"/>
            <a:ext cx="12200823" cy="4910342"/>
          </a:xfrm>
          <a:custGeom>
            <a:avLst/>
            <a:gdLst>
              <a:gd name="connsiteX0" fmla="*/ 9926607 w 12204000"/>
              <a:gd name="connsiteY0" fmla="*/ 3747694 h 4911479"/>
              <a:gd name="connsiteX1" fmla="*/ 9822564 w 12204000"/>
              <a:gd name="connsiteY1" fmla="*/ 3851991 h 4911479"/>
              <a:gd name="connsiteX2" fmla="*/ 9822564 w 12204000"/>
              <a:gd name="connsiteY2" fmla="*/ 3993537 h 4911479"/>
              <a:gd name="connsiteX3" fmla="*/ 9926607 w 12204000"/>
              <a:gd name="connsiteY3" fmla="*/ 4100317 h 4911479"/>
              <a:gd name="connsiteX4" fmla="*/ 10030649 w 12204000"/>
              <a:gd name="connsiteY4" fmla="*/ 3993537 h 4911479"/>
              <a:gd name="connsiteX5" fmla="*/ 10030649 w 12204000"/>
              <a:gd name="connsiteY5" fmla="*/ 3851991 h 4911479"/>
              <a:gd name="connsiteX6" fmla="*/ 9926607 w 12204000"/>
              <a:gd name="connsiteY6" fmla="*/ 3747694 h 4911479"/>
              <a:gd name="connsiteX7" fmla="*/ 10347760 w 12204000"/>
              <a:gd name="connsiteY7" fmla="*/ 3238074 h 4911479"/>
              <a:gd name="connsiteX8" fmla="*/ 10171448 w 12204000"/>
              <a:gd name="connsiteY8" fmla="*/ 3414011 h 4911479"/>
              <a:gd name="connsiteX9" fmla="*/ 10171448 w 12204000"/>
              <a:gd name="connsiteY9" fmla="*/ 3941824 h 4911479"/>
              <a:gd name="connsiteX10" fmla="*/ 10347760 w 12204000"/>
              <a:gd name="connsiteY10" fmla="*/ 4117761 h 4911479"/>
              <a:gd name="connsiteX11" fmla="*/ 10524071 w 12204000"/>
              <a:gd name="connsiteY11" fmla="*/ 3941824 h 4911479"/>
              <a:gd name="connsiteX12" fmla="*/ 10524071 w 12204000"/>
              <a:gd name="connsiteY12" fmla="*/ 3414011 h 4911479"/>
              <a:gd name="connsiteX13" fmla="*/ 10347760 w 12204000"/>
              <a:gd name="connsiteY13" fmla="*/ 3238074 h 4911479"/>
              <a:gd name="connsiteX14" fmla="*/ 10918439 w 12204000"/>
              <a:gd name="connsiteY14" fmla="*/ 2554011 h 4911479"/>
              <a:gd name="connsiteX15" fmla="*/ 10699759 w 12204000"/>
              <a:gd name="connsiteY15" fmla="*/ 2774545 h 4911479"/>
              <a:gd name="connsiteX16" fmla="*/ 10699759 w 12204000"/>
              <a:gd name="connsiteY16" fmla="*/ 4300936 h 4911479"/>
              <a:gd name="connsiteX17" fmla="*/ 10918439 w 12204000"/>
              <a:gd name="connsiteY17" fmla="*/ 4521470 h 4911479"/>
              <a:gd name="connsiteX18" fmla="*/ 11139603 w 12204000"/>
              <a:gd name="connsiteY18" fmla="*/ 4300936 h 4911479"/>
              <a:gd name="connsiteX19" fmla="*/ 11139603 w 12204000"/>
              <a:gd name="connsiteY19" fmla="*/ 2774545 h 4911479"/>
              <a:gd name="connsiteX20" fmla="*/ 10918439 w 12204000"/>
              <a:gd name="connsiteY20" fmla="*/ 2554011 h 4911479"/>
              <a:gd name="connsiteX21" fmla="*/ 0 w 12204000"/>
              <a:gd name="connsiteY21" fmla="*/ 0 h 4911479"/>
              <a:gd name="connsiteX22" fmla="*/ 12204000 w 12204000"/>
              <a:gd name="connsiteY22" fmla="*/ 0 h 4911479"/>
              <a:gd name="connsiteX23" fmla="*/ 12204000 w 12204000"/>
              <a:gd name="connsiteY23" fmla="*/ 3764192 h 4911479"/>
              <a:gd name="connsiteX24" fmla="*/ 12174294 w 12204000"/>
              <a:gd name="connsiteY24" fmla="*/ 3744149 h 4911479"/>
              <a:gd name="connsiteX25" fmla="*/ 12105887 w 12204000"/>
              <a:gd name="connsiteY25" fmla="*/ 3730249 h 4911479"/>
              <a:gd name="connsiteX26" fmla="*/ 11929576 w 12204000"/>
              <a:gd name="connsiteY26" fmla="*/ 3906184 h 4911479"/>
              <a:gd name="connsiteX27" fmla="*/ 11929576 w 12204000"/>
              <a:gd name="connsiteY27" fmla="*/ 4431510 h 4911479"/>
              <a:gd name="connsiteX28" fmla="*/ 12105887 w 12204000"/>
              <a:gd name="connsiteY28" fmla="*/ 4607444 h 4911479"/>
              <a:gd name="connsiteX29" fmla="*/ 12174294 w 12204000"/>
              <a:gd name="connsiteY29" fmla="*/ 4593544 h 4911479"/>
              <a:gd name="connsiteX30" fmla="*/ 12204000 w 12204000"/>
              <a:gd name="connsiteY30" fmla="*/ 4573503 h 4911479"/>
              <a:gd name="connsiteX31" fmla="*/ 12204000 w 12204000"/>
              <a:gd name="connsiteY31" fmla="*/ 4911479 h 4911479"/>
              <a:gd name="connsiteX32" fmla="*/ 11753887 w 12204000"/>
              <a:gd name="connsiteY32" fmla="*/ 4911479 h 4911479"/>
              <a:gd name="connsiteX33" fmla="*/ 11753887 w 12204000"/>
              <a:gd name="connsiteY33" fmla="*/ 4882357 h 4911479"/>
              <a:gd name="connsiteX34" fmla="*/ 11753887 w 12204000"/>
              <a:gd name="connsiteY34" fmla="*/ 3544596 h 4911479"/>
              <a:gd name="connsiteX35" fmla="*/ 11533350 w 12204000"/>
              <a:gd name="connsiteY35" fmla="*/ 3326540 h 4911479"/>
              <a:gd name="connsiteX36" fmla="*/ 11315290 w 12204000"/>
              <a:gd name="connsiteY36" fmla="*/ 3544596 h 4911479"/>
              <a:gd name="connsiteX37" fmla="*/ 11315290 w 12204000"/>
              <a:gd name="connsiteY37" fmla="*/ 4804345 h 4911479"/>
              <a:gd name="connsiteX38" fmla="*/ 11315290 w 12204000"/>
              <a:gd name="connsiteY38" fmla="*/ 4911479 h 4911479"/>
              <a:gd name="connsiteX39" fmla="*/ 0 w 12204000"/>
              <a:gd name="connsiteY39" fmla="*/ 4911479 h 4911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2204000" h="4911479">
                <a:moveTo>
                  <a:pt x="9926607" y="3747694"/>
                </a:moveTo>
                <a:cubicBezTo>
                  <a:pt x="9867154" y="3747694"/>
                  <a:pt x="9822564" y="3794876"/>
                  <a:pt x="9822564" y="3851991"/>
                </a:cubicBezTo>
                <a:cubicBezTo>
                  <a:pt x="9822564" y="3851991"/>
                  <a:pt x="9822564" y="3851991"/>
                  <a:pt x="9822564" y="3993537"/>
                </a:cubicBezTo>
                <a:cubicBezTo>
                  <a:pt x="9822564" y="4053135"/>
                  <a:pt x="9867154" y="4100317"/>
                  <a:pt x="9926607" y="4100317"/>
                </a:cubicBezTo>
                <a:cubicBezTo>
                  <a:pt x="9983582" y="4100317"/>
                  <a:pt x="10030649" y="4053135"/>
                  <a:pt x="10030649" y="3993537"/>
                </a:cubicBezTo>
                <a:cubicBezTo>
                  <a:pt x="10030649" y="3993537"/>
                  <a:pt x="10030649" y="3993537"/>
                  <a:pt x="10030649" y="3851991"/>
                </a:cubicBezTo>
                <a:cubicBezTo>
                  <a:pt x="10030649" y="3794876"/>
                  <a:pt x="9983582" y="3747694"/>
                  <a:pt x="9926607" y="3747694"/>
                </a:cubicBezTo>
                <a:close/>
                <a:moveTo>
                  <a:pt x="10347760" y="3238074"/>
                </a:moveTo>
                <a:cubicBezTo>
                  <a:pt x="10250913" y="3238074"/>
                  <a:pt x="10171448" y="3317370"/>
                  <a:pt x="10171448" y="3414011"/>
                </a:cubicBezTo>
                <a:cubicBezTo>
                  <a:pt x="10171448" y="3414011"/>
                  <a:pt x="10171448" y="3414011"/>
                  <a:pt x="10171448" y="3941824"/>
                </a:cubicBezTo>
                <a:cubicBezTo>
                  <a:pt x="10171448" y="4038465"/>
                  <a:pt x="10250913" y="4117761"/>
                  <a:pt x="10347760" y="4117761"/>
                </a:cubicBezTo>
                <a:cubicBezTo>
                  <a:pt x="10444607" y="4117761"/>
                  <a:pt x="10524071" y="4038465"/>
                  <a:pt x="10524071" y="3941824"/>
                </a:cubicBezTo>
                <a:cubicBezTo>
                  <a:pt x="10524071" y="3941824"/>
                  <a:pt x="10524071" y="3941824"/>
                  <a:pt x="10524071" y="3414011"/>
                </a:cubicBezTo>
                <a:cubicBezTo>
                  <a:pt x="10524071" y="3317370"/>
                  <a:pt x="10444607" y="3238074"/>
                  <a:pt x="10347760" y="3238074"/>
                </a:cubicBezTo>
                <a:close/>
                <a:moveTo>
                  <a:pt x="10918439" y="2554011"/>
                </a:moveTo>
                <a:cubicBezTo>
                  <a:pt x="10799159" y="2554011"/>
                  <a:pt x="10699759" y="2653127"/>
                  <a:pt x="10699759" y="2774545"/>
                </a:cubicBezTo>
                <a:cubicBezTo>
                  <a:pt x="10699759" y="2774545"/>
                  <a:pt x="10699759" y="2774545"/>
                  <a:pt x="10699759" y="4300936"/>
                </a:cubicBezTo>
                <a:cubicBezTo>
                  <a:pt x="10699759" y="4422354"/>
                  <a:pt x="10799159" y="4521470"/>
                  <a:pt x="10918439" y="4521470"/>
                </a:cubicBezTo>
                <a:cubicBezTo>
                  <a:pt x="11040203" y="4521470"/>
                  <a:pt x="11139603" y="4422354"/>
                  <a:pt x="11139603" y="4300936"/>
                </a:cubicBezTo>
                <a:cubicBezTo>
                  <a:pt x="11139603" y="4300936"/>
                  <a:pt x="11139603" y="4300936"/>
                  <a:pt x="11139603" y="2774545"/>
                </a:cubicBezTo>
                <a:cubicBezTo>
                  <a:pt x="11139603" y="2653127"/>
                  <a:pt x="11040203" y="2554011"/>
                  <a:pt x="10918439" y="2554011"/>
                </a:cubicBezTo>
                <a:close/>
                <a:moveTo>
                  <a:pt x="0" y="0"/>
                </a:moveTo>
                <a:lnTo>
                  <a:pt x="12204000" y="0"/>
                </a:lnTo>
                <a:lnTo>
                  <a:pt x="12204000" y="3764192"/>
                </a:lnTo>
                <a:lnTo>
                  <a:pt x="12174294" y="3744149"/>
                </a:lnTo>
                <a:cubicBezTo>
                  <a:pt x="12153224" y="3735205"/>
                  <a:pt x="12130099" y="3730249"/>
                  <a:pt x="12105887" y="3730249"/>
                </a:cubicBezTo>
                <a:cubicBezTo>
                  <a:pt x="12009040" y="3730249"/>
                  <a:pt x="11929576" y="3809544"/>
                  <a:pt x="11929576" y="3906184"/>
                </a:cubicBezTo>
                <a:cubicBezTo>
                  <a:pt x="11929576" y="3906184"/>
                  <a:pt x="11929576" y="3906184"/>
                  <a:pt x="11929576" y="4431510"/>
                </a:cubicBezTo>
                <a:cubicBezTo>
                  <a:pt x="11929576" y="4528150"/>
                  <a:pt x="12009040" y="4607444"/>
                  <a:pt x="12105887" y="4607444"/>
                </a:cubicBezTo>
                <a:cubicBezTo>
                  <a:pt x="12130099" y="4607444"/>
                  <a:pt x="12153224" y="4602488"/>
                  <a:pt x="12174294" y="4593544"/>
                </a:cubicBezTo>
                <a:lnTo>
                  <a:pt x="12204000" y="4573503"/>
                </a:lnTo>
                <a:lnTo>
                  <a:pt x="12204000" y="4911479"/>
                </a:lnTo>
                <a:lnTo>
                  <a:pt x="11753887" y="4911479"/>
                </a:lnTo>
                <a:lnTo>
                  <a:pt x="11753887" y="4882357"/>
                </a:lnTo>
                <a:cubicBezTo>
                  <a:pt x="11753887" y="4691248"/>
                  <a:pt x="11753887" y="4309031"/>
                  <a:pt x="11753887" y="3544596"/>
                </a:cubicBezTo>
                <a:cubicBezTo>
                  <a:pt x="11753887" y="3425656"/>
                  <a:pt x="11654769" y="3326540"/>
                  <a:pt x="11533350" y="3326540"/>
                </a:cubicBezTo>
                <a:cubicBezTo>
                  <a:pt x="11414408" y="3326540"/>
                  <a:pt x="11315290" y="3425656"/>
                  <a:pt x="11315290" y="3544596"/>
                </a:cubicBezTo>
                <a:cubicBezTo>
                  <a:pt x="11315290" y="3544596"/>
                  <a:pt x="11315290" y="3544596"/>
                  <a:pt x="11315290" y="4804345"/>
                </a:cubicBezTo>
                <a:lnTo>
                  <a:pt x="11315290" y="4911479"/>
                </a:lnTo>
                <a:lnTo>
                  <a:pt x="0" y="4911479"/>
                </a:lnTo>
                <a:close/>
              </a:path>
            </a:pathLst>
          </a:custGeom>
          <a:solidFill>
            <a:schemeClr val="accent5"/>
          </a:solidFill>
        </p:spPr>
      </p:pic>
    </p:spTree>
    <p:extLst>
      <p:ext uri="{BB962C8B-B14F-4D97-AF65-F5344CB8AC3E}">
        <p14:creationId xmlns:p14="http://schemas.microsoft.com/office/powerpoint/2010/main" val="2209966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AC248E-A39F-04A0-9D41-A28C342360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406CC06-7389-1A05-5E33-F9D3469E8E3A}"/>
              </a:ext>
            </a:extLst>
          </p:cNvPr>
          <p:cNvSpPr/>
          <p:nvPr/>
        </p:nvSpPr>
        <p:spPr>
          <a:xfrm>
            <a:off x="-91415" y="1421163"/>
            <a:ext cx="12378828" cy="44059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2C55B48-FE66-3F5D-DF84-941A3B98C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BCCD3-0010-4FBA-B965-2126ADC31932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8B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8B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Title 3">
            <a:extLst>
              <a:ext uri="{FF2B5EF4-FFF2-40B4-BE49-F238E27FC236}">
                <a16:creationId xmlns:a16="http://schemas.microsoft.com/office/drawing/2014/main" id="{3A0CB24B-1021-A36A-E811-37C3B1AEBA36}"/>
              </a:ext>
            </a:extLst>
          </p:cNvPr>
          <p:cNvSpPr txBox="1">
            <a:spLocks/>
          </p:cNvSpPr>
          <p:nvPr/>
        </p:nvSpPr>
        <p:spPr>
          <a:xfrm>
            <a:off x="647830" y="360088"/>
            <a:ext cx="10912509" cy="7199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088776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2800" dirty="0"/>
              <a:t>Lessons from our AI journey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00005E"/>
              </a:solidFill>
              <a:effectLst/>
              <a:uLnTx/>
              <a:uFillTx/>
              <a:latin typeface="Nordea Sans Large Black" panose="00000A00000000000000" pitchFamily="50" charset="0"/>
              <a:ea typeface="+mj-ea"/>
              <a:cs typeface="+mj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9F6B121-631F-4851-59A5-91630FA81C6E}"/>
              </a:ext>
            </a:extLst>
          </p:cNvPr>
          <p:cNvSpPr txBox="1"/>
          <p:nvPr/>
        </p:nvSpPr>
        <p:spPr>
          <a:xfrm>
            <a:off x="9019182" y="3758737"/>
            <a:ext cx="269429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FDECE4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…but value capture is vagu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027E97E-E06B-A94D-0547-B0A908BF539F}"/>
              </a:ext>
            </a:extLst>
          </p:cNvPr>
          <p:cNvSpPr txBox="1"/>
          <p:nvPr/>
        </p:nvSpPr>
        <p:spPr>
          <a:xfrm>
            <a:off x="9221978" y="4648908"/>
            <a:ext cx="2694290" cy="861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99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70-85% </a:t>
            </a:r>
            <a:b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of AI initiatives fail to deliver expected outcomes</a:t>
            </a:r>
            <a:r>
              <a:rPr kumimoji="0" lang="en-GB" sz="160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4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23B9F27-0456-15BF-027F-E0B6988A83D6}"/>
              </a:ext>
            </a:extLst>
          </p:cNvPr>
          <p:cNvSpPr txBox="1"/>
          <p:nvPr/>
        </p:nvSpPr>
        <p:spPr>
          <a:xfrm>
            <a:off x="6303331" y="3749267"/>
            <a:ext cx="251934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FDECE4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ustomer </a:t>
            </a:r>
            <a:b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FDECE4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FDECE4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mpact is clear…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A0D4392-B548-BC68-1D2D-E4543B1AADEC}"/>
              </a:ext>
            </a:extLst>
          </p:cNvPr>
          <p:cNvSpPr txBox="1"/>
          <p:nvPr/>
        </p:nvSpPr>
        <p:spPr>
          <a:xfrm>
            <a:off x="6383513" y="4642593"/>
            <a:ext cx="2474937" cy="892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999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46% </a:t>
            </a:r>
            <a:b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I has led to better customer satisfaction</a:t>
            </a:r>
            <a:r>
              <a:rPr kumimoji="0" lang="en-GB" sz="160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3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2886AC-2CAB-C937-8418-34FFAA3497FB}"/>
              </a:ext>
            </a:extLst>
          </p:cNvPr>
          <p:cNvSpPr txBox="1"/>
          <p:nvPr/>
        </p:nvSpPr>
        <p:spPr>
          <a:xfrm>
            <a:off x="3478793" y="3730328"/>
            <a:ext cx="251934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FDECE4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…and change manageme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C6A2049-36B6-A18D-AE5C-4D2159219B73}"/>
              </a:ext>
            </a:extLst>
          </p:cNvPr>
          <p:cNvSpPr txBox="1"/>
          <p:nvPr/>
        </p:nvSpPr>
        <p:spPr>
          <a:xfrm>
            <a:off x="627533" y="3739697"/>
            <a:ext cx="251934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FDECE4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t is al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FDECE4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bout data…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C85803CA-A0D1-4147-71A8-85BE1A4D5F0D}"/>
              </a:ext>
            </a:extLst>
          </p:cNvPr>
          <p:cNvSpPr txBox="1"/>
          <p:nvPr/>
        </p:nvSpPr>
        <p:spPr>
          <a:xfrm>
            <a:off x="3148739" y="4641783"/>
            <a:ext cx="3239156" cy="11384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999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70%+ </a:t>
            </a:r>
            <a:b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ssues stem from </a:t>
            </a:r>
            <a:b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eople and processes, </a:t>
            </a:r>
            <a:b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ot technology</a:t>
            </a:r>
            <a:r>
              <a:rPr kumimoji="0" lang="en-GB" sz="160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2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81E38BA-93AF-524F-7377-97849D0F5C97}"/>
              </a:ext>
            </a:extLst>
          </p:cNvPr>
          <p:cNvSpPr txBox="1"/>
          <p:nvPr/>
        </p:nvSpPr>
        <p:spPr>
          <a:xfrm>
            <a:off x="267627" y="4619316"/>
            <a:ext cx="3239156" cy="892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999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45%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oncerned about data </a:t>
            </a:r>
            <a:b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ias and quality issues</a:t>
            </a:r>
            <a:r>
              <a:rPr kumimoji="0" lang="en-GB" sz="160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516EC5A8-ED92-6BC6-19E1-0D4D7B32AC98}"/>
              </a:ext>
            </a:extLst>
          </p:cNvPr>
          <p:cNvSpPr/>
          <p:nvPr/>
        </p:nvSpPr>
        <p:spPr>
          <a:xfrm>
            <a:off x="9222268" y="1254116"/>
            <a:ext cx="2339391" cy="2339391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05561C0-FEC7-E9E2-89CE-238C9FFC96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1715" y="1468502"/>
            <a:ext cx="1129224" cy="1762934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FB3B335C-6D30-1740-7F4A-96371F5717C7}"/>
              </a:ext>
            </a:extLst>
          </p:cNvPr>
          <p:cNvSpPr txBox="1"/>
          <p:nvPr/>
        </p:nvSpPr>
        <p:spPr>
          <a:xfrm>
            <a:off x="2519916" y="5846007"/>
            <a:ext cx="813787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30000" noProof="0">
                <a:ln>
                  <a:noFill/>
                </a:ln>
                <a:solidFill>
                  <a:srgbClr val="00005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5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BM Global AI Adoption Index, </a:t>
            </a:r>
            <a:r>
              <a:rPr kumimoji="0" lang="en-GB" sz="800" b="0" i="0" u="none" strike="noStrike" kern="1200" cap="none" spc="0" normalizeH="0" baseline="30000" noProof="0">
                <a:ln>
                  <a:noFill/>
                </a:ln>
                <a:solidFill>
                  <a:srgbClr val="00005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2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5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CG AI Adoption report, 2024, </a:t>
            </a:r>
            <a:r>
              <a:rPr kumimoji="0" lang="en-GB" sz="800" b="0" i="0" u="none" strike="noStrike" kern="1200" cap="none" spc="0" normalizeH="0" baseline="30000" noProof="0">
                <a:ln>
                  <a:noFill/>
                </a:ln>
                <a:solidFill>
                  <a:srgbClr val="00005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3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5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I in Finance, key statistics, trends 2025, </a:t>
            </a:r>
            <a:r>
              <a:rPr kumimoji="0" lang="en-GB" sz="800" b="0" i="0" u="none" strike="noStrike" kern="1200" cap="none" spc="0" normalizeH="0" baseline="30000" noProof="0">
                <a:ln>
                  <a:noFill/>
                </a:ln>
                <a:solidFill>
                  <a:srgbClr val="00005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4.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5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MIT Sloan Management Review, Gartner and NTT Data, 2020</a:t>
            </a:r>
            <a:endParaRPr kumimoji="0" lang="en-GB" sz="800" b="0" i="0" u="none" strike="noStrike" kern="1200" cap="none" spc="0" normalizeH="0" baseline="30000" noProof="0">
              <a:ln>
                <a:noFill/>
              </a:ln>
              <a:solidFill>
                <a:srgbClr val="00005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6527F5E-7189-FE93-D93A-67A32684BF79}"/>
              </a:ext>
            </a:extLst>
          </p:cNvPr>
          <p:cNvGrpSpPr/>
          <p:nvPr/>
        </p:nvGrpSpPr>
        <p:grpSpPr>
          <a:xfrm>
            <a:off x="6383869" y="1256304"/>
            <a:ext cx="2339391" cy="2339391"/>
            <a:chOff x="811329" y="1263410"/>
            <a:chExt cx="2340000" cy="234000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1523AED6-7030-6974-D1BC-6FE6E70455BE}"/>
                </a:ext>
              </a:extLst>
            </p:cNvPr>
            <p:cNvSpPr/>
            <p:nvPr/>
          </p:nvSpPr>
          <p:spPr>
            <a:xfrm>
              <a:off x="811329" y="1263410"/>
              <a:ext cx="2340000" cy="23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782085C-4D65-9151-AA5F-95D0FB12212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095" r="17095"/>
            <a:stretch/>
          </p:blipFill>
          <p:spPr>
            <a:xfrm>
              <a:off x="901329" y="1340036"/>
              <a:ext cx="2160000" cy="2186749"/>
            </a:xfrm>
            <a:prstGeom prst="ellipse">
              <a:avLst/>
            </a:prstGeom>
            <a:ln w="63500" cap="rnd">
              <a:noFill/>
            </a:ln>
            <a:effectLst/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5B206600-3793-C005-5245-4C71C8D690CB}"/>
                </a:ext>
              </a:extLst>
            </p:cNvPr>
            <p:cNvSpPr/>
            <p:nvPr/>
          </p:nvSpPr>
          <p:spPr>
            <a:xfrm>
              <a:off x="899338" y="1351222"/>
              <a:ext cx="2182864" cy="2160000"/>
            </a:xfrm>
            <a:prstGeom prst="ellipse">
              <a:avLst/>
            </a:prstGeom>
            <a:noFill/>
            <a:ln w="57150">
              <a:solidFill>
                <a:srgbClr val="F4F4F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BCF6AE4-7B63-1498-DBCD-CC98AE18D67D}"/>
              </a:ext>
            </a:extLst>
          </p:cNvPr>
          <p:cNvGrpSpPr/>
          <p:nvPr/>
        </p:nvGrpSpPr>
        <p:grpSpPr>
          <a:xfrm>
            <a:off x="3559331" y="1256304"/>
            <a:ext cx="2339391" cy="2339391"/>
            <a:chOff x="811329" y="1263410"/>
            <a:chExt cx="2340000" cy="2340000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91FD0C03-8E52-0BAA-CEB5-C8D5E68E3950}"/>
                </a:ext>
              </a:extLst>
            </p:cNvPr>
            <p:cNvSpPr/>
            <p:nvPr/>
          </p:nvSpPr>
          <p:spPr>
            <a:xfrm>
              <a:off x="811329" y="1263410"/>
              <a:ext cx="2340000" cy="23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D16912F1-6590-3983-FC74-9F58300000C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033" r="17033"/>
            <a:stretch/>
          </p:blipFill>
          <p:spPr>
            <a:xfrm>
              <a:off x="901329" y="1340036"/>
              <a:ext cx="2160000" cy="2186749"/>
            </a:xfrm>
            <a:prstGeom prst="ellipse">
              <a:avLst/>
            </a:prstGeom>
            <a:ln w="63500" cap="rnd">
              <a:noFill/>
            </a:ln>
            <a:effectLst/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1AA402BB-3F86-AC85-2C2C-51FAA0D06AC4}"/>
                </a:ext>
              </a:extLst>
            </p:cNvPr>
            <p:cNvSpPr/>
            <p:nvPr/>
          </p:nvSpPr>
          <p:spPr>
            <a:xfrm>
              <a:off x="899338" y="1351222"/>
              <a:ext cx="2182864" cy="2160000"/>
            </a:xfrm>
            <a:prstGeom prst="ellipse">
              <a:avLst/>
            </a:prstGeom>
            <a:noFill/>
            <a:ln w="57150">
              <a:solidFill>
                <a:srgbClr val="F4F4F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153C1B2-B05A-42BB-CA09-C6C0CBC10864}"/>
              </a:ext>
            </a:extLst>
          </p:cNvPr>
          <p:cNvGrpSpPr/>
          <p:nvPr/>
        </p:nvGrpSpPr>
        <p:grpSpPr>
          <a:xfrm>
            <a:off x="717510" y="1257619"/>
            <a:ext cx="2339391" cy="2339391"/>
            <a:chOff x="811329" y="1263410"/>
            <a:chExt cx="2340000" cy="2340000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99352595-EBF1-873B-5D35-08A46A6D8E7A}"/>
                </a:ext>
              </a:extLst>
            </p:cNvPr>
            <p:cNvSpPr/>
            <p:nvPr/>
          </p:nvSpPr>
          <p:spPr>
            <a:xfrm>
              <a:off x="811329" y="1263410"/>
              <a:ext cx="2340000" cy="23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3A699C39-CB1F-2657-1581-72D28D6581C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l="1755" r="1755"/>
            <a:stretch/>
          </p:blipFill>
          <p:spPr>
            <a:xfrm>
              <a:off x="901329" y="1340036"/>
              <a:ext cx="2160000" cy="2186749"/>
            </a:xfrm>
            <a:prstGeom prst="ellipse">
              <a:avLst/>
            </a:prstGeom>
            <a:ln w="63500" cap="rnd">
              <a:noFill/>
            </a:ln>
            <a:effectLst/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D3DE8484-664B-F571-1B89-F8C089E67508}"/>
                </a:ext>
              </a:extLst>
            </p:cNvPr>
            <p:cNvSpPr/>
            <p:nvPr/>
          </p:nvSpPr>
          <p:spPr>
            <a:xfrm>
              <a:off x="901328" y="1322578"/>
              <a:ext cx="2180873" cy="2188644"/>
            </a:xfrm>
            <a:prstGeom prst="ellipse">
              <a:avLst/>
            </a:prstGeom>
            <a:noFill/>
            <a:ln w="57150">
              <a:solidFill>
                <a:srgbClr val="F4F4F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084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E25B7D-C86B-CAA4-B1DC-D534FF99CE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9369" y="1731432"/>
            <a:ext cx="6033262" cy="3395136"/>
          </a:xfrm>
        </p:spPr>
        <p:txBody>
          <a:bodyPr/>
          <a:lstStyle/>
          <a:p>
            <a:pPr lvl="0" defTabSz="914400">
              <a:spcBef>
                <a:spcPts val="0"/>
              </a:spcBef>
              <a:defRPr/>
            </a:pPr>
            <a:r>
              <a:rPr lang="en-GB" sz="4800" b="1">
                <a:solidFill>
                  <a:schemeClr val="tx2"/>
                </a:solidFill>
                <a:latin typeface="+mj-lt"/>
              </a:rPr>
              <a:t>Life-long customer relationships: </a:t>
            </a:r>
            <a:br>
              <a:rPr lang="en-GB" sz="4800" b="1">
                <a:solidFill>
                  <a:schemeClr val="tx2"/>
                </a:solidFill>
                <a:latin typeface="+mj-lt"/>
              </a:rPr>
            </a:br>
            <a:r>
              <a:rPr lang="en-GB" sz="4800" b="1">
                <a:solidFill>
                  <a:schemeClr val="accent2"/>
                </a:solidFill>
                <a:latin typeface="+mj-lt"/>
              </a:rPr>
              <a:t>AI as the </a:t>
            </a:r>
            <a:r>
              <a:rPr lang="en-GB" sz="4800" b="1" i="1">
                <a:solidFill>
                  <a:schemeClr val="accent2"/>
                </a:solidFill>
                <a:latin typeface="+mj-lt"/>
              </a:rPr>
              <a:t>enabler</a:t>
            </a:r>
            <a:r>
              <a:rPr lang="en-GB" sz="4800" b="1">
                <a:solidFill>
                  <a:schemeClr val="accent2"/>
                </a:solidFill>
                <a:latin typeface="+mj-lt"/>
              </a:rPr>
              <a:t>, </a:t>
            </a:r>
            <a:br>
              <a:rPr lang="en-GB" sz="4800" b="1">
                <a:solidFill>
                  <a:schemeClr val="accent2"/>
                </a:solidFill>
                <a:latin typeface="+mj-lt"/>
              </a:rPr>
            </a:br>
            <a:r>
              <a:rPr lang="en-GB" sz="4800" b="1" u="sng">
                <a:solidFill>
                  <a:schemeClr val="accent2"/>
                </a:solidFill>
                <a:latin typeface="+mj-lt"/>
              </a:rPr>
              <a:t>not</a:t>
            </a:r>
            <a:r>
              <a:rPr lang="en-GB" sz="4800" b="1">
                <a:solidFill>
                  <a:schemeClr val="accent2"/>
                </a:solidFill>
                <a:latin typeface="+mj-lt"/>
              </a:rPr>
              <a:t> the driver</a:t>
            </a:r>
            <a:br>
              <a:rPr lang="en-GB" sz="4000">
                <a:solidFill>
                  <a:schemeClr val="accent2"/>
                </a:solidFill>
                <a:latin typeface="Nordea Sans Large Black" panose="00000A00000000000000" pitchFamily="2" charset="0"/>
              </a:rPr>
            </a:br>
            <a:endParaRPr lang="en-GB" sz="3950">
              <a:solidFill>
                <a:schemeClr val="accent2"/>
              </a:solidFill>
              <a:cs typeface="Arial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4656AA2-EDEA-59DD-2077-6957ACFF82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pPr/>
              <a:t>11</a:t>
            </a:fld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31EB8C3-1E67-BF0C-930A-7A5FBBBB36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09322" y="3169929"/>
            <a:ext cx="3889529" cy="391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4271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E719F1-4EAE-1E9B-19A7-745610BF8D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ity with a body of water&#10;&#10;AI-generated content may be incorrect.">
            <a:extLst>
              <a:ext uri="{FF2B5EF4-FFF2-40B4-BE49-F238E27FC236}">
                <a16:creationId xmlns:a16="http://schemas.microsoft.com/office/drawing/2014/main" id="{999E289D-1D83-01E8-44EF-9DD3F5BB6A6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E391FCD-8A34-8E81-AD50-DDC72A9E1322}"/>
              </a:ext>
            </a:extLst>
          </p:cNvPr>
          <p:cNvSpPr/>
          <p:nvPr/>
        </p:nvSpPr>
        <p:spPr>
          <a:xfrm>
            <a:off x="6994967" y="899413"/>
            <a:ext cx="5197033" cy="2011599"/>
          </a:xfrm>
          <a:prstGeom prst="rect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108877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4388" algn="l" defTabSz="108877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88776" algn="l" defTabSz="108877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3164" algn="l" defTabSz="108877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77552" algn="l" defTabSz="108877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C2ED258-DA32-0A0E-E705-E166510D5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52529" y="1545222"/>
            <a:ext cx="7198125" cy="719980"/>
          </a:xfrm>
        </p:spPr>
        <p:txBody>
          <a:bodyPr>
            <a:normAutofit fontScale="90000"/>
          </a:bodyPr>
          <a:lstStyle/>
          <a:p>
            <a:r>
              <a:rPr lang="en-GB" sz="5998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!</a:t>
            </a:r>
          </a:p>
        </p:txBody>
      </p:sp>
      <p:sp>
        <p:nvSpPr>
          <p:cNvPr id="7" name="Logotype, static">
            <a:extLst>
              <a:ext uri="{FF2B5EF4-FFF2-40B4-BE49-F238E27FC236}">
                <a16:creationId xmlns:a16="http://schemas.microsoft.com/office/drawing/2014/main" id="{2393B396-FF8F-55E1-B2BB-028E264657E5}"/>
              </a:ext>
            </a:extLst>
          </p:cNvPr>
          <p:cNvSpPr>
            <a:spLocks noChangeAspect="1"/>
          </p:cNvSpPr>
          <p:nvPr/>
        </p:nvSpPr>
        <p:spPr>
          <a:xfrm>
            <a:off x="10686777" y="6387806"/>
            <a:ext cx="863775" cy="180020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99" b="0" i="0" u="none" strike="noStrike" kern="1200" cap="none" spc="0" normalizeH="0" baseline="0" noProof="0">
              <a:ln>
                <a:noFill/>
              </a:ln>
              <a:solidFill>
                <a:srgbClr val="00005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6797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98C83FA-B63C-1560-8485-832A68FA487C}"/>
              </a:ext>
            </a:extLst>
          </p:cNvPr>
          <p:cNvSpPr/>
          <p:nvPr/>
        </p:nvSpPr>
        <p:spPr>
          <a:xfrm>
            <a:off x="1" y="99"/>
            <a:ext cx="12192000" cy="685780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1088449" rtl="0" eaLnBrk="1" latinLnBrk="0" hangingPunct="1">
              <a:defRPr sz="20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225" algn="l" defTabSz="1088449" rtl="0" eaLnBrk="1" latinLnBrk="0" hangingPunct="1">
              <a:defRPr sz="20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449" algn="l" defTabSz="1088449" rtl="0" eaLnBrk="1" latinLnBrk="0" hangingPunct="1">
              <a:defRPr sz="20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2674" algn="l" defTabSz="1088449" rtl="0" eaLnBrk="1" latinLnBrk="0" hangingPunct="1">
              <a:defRPr sz="20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6899" algn="l" defTabSz="1088449" rtl="0" eaLnBrk="1" latinLnBrk="0" hangingPunct="1">
              <a:defRPr sz="20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123" algn="l" defTabSz="1088449" rtl="0" eaLnBrk="1" latinLnBrk="0" hangingPunct="1">
              <a:defRPr sz="20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5348" algn="l" defTabSz="1088449" rtl="0" eaLnBrk="1" latinLnBrk="0" hangingPunct="1">
              <a:defRPr sz="20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573" algn="l" defTabSz="1088449" rtl="0" eaLnBrk="1" latinLnBrk="0" hangingPunct="1">
              <a:defRPr sz="20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3797" algn="l" defTabSz="1088449" rtl="0" eaLnBrk="1" latinLnBrk="0" hangingPunct="1">
              <a:defRPr sz="20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A009BF4-82BE-BC1A-307F-EC734E8BFDEB}"/>
              </a:ext>
            </a:extLst>
          </p:cNvPr>
          <p:cNvSpPr txBox="1"/>
          <p:nvPr/>
        </p:nvSpPr>
        <p:spPr>
          <a:xfrm>
            <a:off x="5168779" y="3013610"/>
            <a:ext cx="3810595" cy="1631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088449" rtl="0" eaLnBrk="1" latinLnBrk="0" hangingPunct="1">
              <a:defRPr sz="20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225" algn="l" defTabSz="1088449" rtl="0" eaLnBrk="1" latinLnBrk="0" hangingPunct="1">
              <a:defRPr sz="20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449" algn="l" defTabSz="1088449" rtl="0" eaLnBrk="1" latinLnBrk="0" hangingPunct="1">
              <a:defRPr sz="20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2674" algn="l" defTabSz="1088449" rtl="0" eaLnBrk="1" latinLnBrk="0" hangingPunct="1">
              <a:defRPr sz="20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6899" algn="l" defTabSz="1088449" rtl="0" eaLnBrk="1" latinLnBrk="0" hangingPunct="1">
              <a:defRPr sz="20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123" algn="l" defTabSz="1088449" rtl="0" eaLnBrk="1" latinLnBrk="0" hangingPunct="1">
              <a:defRPr sz="20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5348" algn="l" defTabSz="1088449" rtl="0" eaLnBrk="1" latinLnBrk="0" hangingPunct="1">
              <a:defRPr sz="20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573" algn="l" defTabSz="1088449" rtl="0" eaLnBrk="1" latinLnBrk="0" hangingPunct="1">
              <a:defRPr sz="20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3797" algn="l" defTabSz="1088449" rtl="0" eaLnBrk="1" latinLnBrk="0" hangingPunct="1">
              <a:defRPr sz="20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3200">
                <a:solidFill>
                  <a:schemeClr val="accent3"/>
                </a:solidFill>
                <a:latin typeface="+mj-lt"/>
              </a:rPr>
              <a:t>Heikki Henttu</a:t>
            </a:r>
            <a:br>
              <a:rPr lang="en-GB" sz="2000">
                <a:solidFill>
                  <a:schemeClr val="bg1"/>
                </a:solidFill>
                <a:latin typeface="+mj-lt"/>
              </a:rPr>
            </a:br>
            <a:r>
              <a:rPr lang="en-GB" sz="2400">
                <a:solidFill>
                  <a:schemeClr val="bg1"/>
                </a:solidFill>
                <a:latin typeface="+mj-lt"/>
              </a:rPr>
              <a:t>Head of AI and Group Technology strategy </a:t>
            </a:r>
          </a:p>
          <a:p>
            <a:pPr algn="ctr"/>
            <a:endParaRPr lang="en-GB" sz="1999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BFB628D-1A9F-4A2E-5E11-A964824BB9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1173"/>
          <a:stretch/>
        </p:blipFill>
        <p:spPr>
          <a:xfrm>
            <a:off x="8410289" y="2691030"/>
            <a:ext cx="3781711" cy="4257383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040151E6-87FA-301D-B074-764B0853564D}"/>
              </a:ext>
            </a:extLst>
          </p:cNvPr>
          <p:cNvSpPr/>
          <p:nvPr/>
        </p:nvSpPr>
        <p:spPr>
          <a:xfrm>
            <a:off x="1239326" y="1534254"/>
            <a:ext cx="3919621" cy="3789491"/>
          </a:xfrm>
          <a:prstGeom prst="ellipse">
            <a:avLst/>
          </a:prstGeom>
          <a:blipFill>
            <a:blip r:embed="rId5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3694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658D15-8F06-A211-EC71-5A9D3961C5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3AC75BC-E2D5-A419-A24C-77DD2A110EC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9222" t="5589" r="34737" b="48037"/>
          <a:stretch/>
        </p:blipFill>
        <p:spPr>
          <a:xfrm>
            <a:off x="0" y="28827"/>
            <a:ext cx="7104664" cy="685800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B0C64E5-B5EB-2A39-7558-1C27C78501FA}"/>
              </a:ext>
            </a:extLst>
          </p:cNvPr>
          <p:cNvSpPr/>
          <p:nvPr/>
        </p:nvSpPr>
        <p:spPr>
          <a:xfrm>
            <a:off x="7104664" y="-55472"/>
            <a:ext cx="5086983" cy="6942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9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882F8ECA-F1AB-9967-7B6A-1897686D09D2}"/>
              </a:ext>
            </a:extLst>
          </p:cNvPr>
          <p:cNvSpPr/>
          <p:nvPr/>
        </p:nvSpPr>
        <p:spPr>
          <a:xfrm>
            <a:off x="6096000" y="736679"/>
            <a:ext cx="5384488" cy="496555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9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0EA823E-7B92-DEFD-6A04-F774D3249A63}"/>
              </a:ext>
            </a:extLst>
          </p:cNvPr>
          <p:cNvSpPr txBox="1"/>
          <p:nvPr/>
        </p:nvSpPr>
        <p:spPr>
          <a:xfrm>
            <a:off x="6490769" y="1342020"/>
            <a:ext cx="4594950" cy="36009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1088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800" b="1" i="0" u="none" strike="noStrike" kern="1200" cap="none" spc="0" normalizeH="0" baseline="0" noProof="0">
                <a:ln>
                  <a:noFill/>
                </a:ln>
                <a:solidFill>
                  <a:srgbClr val="00005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e have found our home in Finland</a:t>
            </a:r>
          </a:p>
          <a:p>
            <a:pPr marL="0" marR="0" lvl="0" indent="0" algn="ctr" defTabSz="1088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1200" cap="none" spc="0" normalizeH="0" baseline="0" noProof="0">
              <a:ln>
                <a:noFill/>
              </a:ln>
              <a:solidFill>
                <a:srgbClr val="00005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1088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0" i="0" u="none" strike="noStrike" kern="1200" cap="none" spc="0" normalizeH="0" baseline="0" noProof="0">
                <a:ln>
                  <a:noFill/>
                </a:ln>
                <a:solidFill>
                  <a:srgbClr val="00005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th a local </a:t>
            </a:r>
            <a:br>
              <a:rPr kumimoji="0" lang="en-GB" sz="2800" b="0" i="0" u="none" strike="noStrike" kern="1200" cap="none" spc="0" normalizeH="0" baseline="0" noProof="0">
                <a:ln>
                  <a:noFill/>
                </a:ln>
                <a:solidFill>
                  <a:srgbClr val="00005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GB" sz="2800" b="0" i="0" u="none" strike="noStrike" kern="1200" cap="none" spc="0" normalizeH="0" baseline="0" noProof="0">
                <a:ln>
                  <a:noFill/>
                </a:ln>
                <a:solidFill>
                  <a:srgbClr val="00005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 Nordic perspective</a:t>
            </a:r>
            <a:endParaRPr kumimoji="0" lang="en-GB" sz="2800" b="0" i="0" u="none" strike="noStrike" kern="1200" cap="none" spc="0" normalizeH="0" baseline="0" noProof="0">
              <a:ln>
                <a:noFill/>
              </a:ln>
              <a:solidFill>
                <a:srgbClr val="00005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6" name="Logotype, static">
            <a:extLst>
              <a:ext uri="{FF2B5EF4-FFF2-40B4-BE49-F238E27FC236}">
                <a16:creationId xmlns:a16="http://schemas.microsoft.com/office/drawing/2014/main" id="{3C040855-BFE6-F9FA-C7FE-48BF42A5B42E}"/>
              </a:ext>
            </a:extLst>
          </p:cNvPr>
          <p:cNvSpPr>
            <a:spLocks noChangeAspect="1"/>
          </p:cNvSpPr>
          <p:nvPr/>
        </p:nvSpPr>
        <p:spPr>
          <a:xfrm>
            <a:off x="10686777" y="6387806"/>
            <a:ext cx="863775" cy="180020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99" b="0" i="0" u="none" strike="noStrike" kern="1200" cap="none" spc="0" normalizeH="0" baseline="0" noProof="0">
              <a:ln>
                <a:noFill/>
              </a:ln>
              <a:solidFill>
                <a:srgbClr val="00005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Logotype, static">
            <a:extLst>
              <a:ext uri="{FF2B5EF4-FFF2-40B4-BE49-F238E27FC236}">
                <a16:creationId xmlns:a16="http://schemas.microsoft.com/office/drawing/2014/main" id="{826DFEFF-74C4-A74D-D702-7908A79D21B9}"/>
              </a:ext>
            </a:extLst>
          </p:cNvPr>
          <p:cNvSpPr>
            <a:spLocks noChangeAspect="1"/>
          </p:cNvSpPr>
          <p:nvPr/>
        </p:nvSpPr>
        <p:spPr>
          <a:xfrm>
            <a:off x="10686776" y="6387892"/>
            <a:ext cx="863775" cy="180025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112949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DA43B8-0A14-B556-E3C6-79C70A31B0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52CA7EA-617A-287F-831B-70564422AD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0982" y="-106852"/>
            <a:ext cx="5660922" cy="1037268"/>
          </a:xfrm>
        </p:spPr>
        <p:txBody>
          <a:bodyPr>
            <a:normAutofit fontScale="90000"/>
          </a:bodyPr>
          <a:lstStyle/>
          <a:p>
            <a:r>
              <a:rPr lang="en-GB" sz="4950" b="1">
                <a:latin typeface="Arial"/>
                <a:cs typeface="Arial"/>
              </a:rPr>
              <a:t>Nordea in </a:t>
            </a:r>
            <a:r>
              <a:rPr lang="en-GB" sz="4950" b="1">
                <a:solidFill>
                  <a:schemeClr val="accent3"/>
                </a:solidFill>
                <a:latin typeface="Arial"/>
                <a:cs typeface="Arial"/>
              </a:rPr>
              <a:t>number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D9DE200-17EB-9399-282F-8D396A9308F7}"/>
              </a:ext>
            </a:extLst>
          </p:cNvPr>
          <p:cNvGrpSpPr/>
          <p:nvPr/>
        </p:nvGrpSpPr>
        <p:grpSpPr>
          <a:xfrm>
            <a:off x="5998542" y="1764984"/>
            <a:ext cx="2954848" cy="1996061"/>
            <a:chOff x="4639799" y="4498876"/>
            <a:chExt cx="2955617" cy="1996580"/>
          </a:xfrm>
        </p:grpSpPr>
        <p:pic>
          <p:nvPicPr>
            <p:cNvPr id="12" name="xxIcon">
              <a:extLst>
                <a:ext uri="{FF2B5EF4-FFF2-40B4-BE49-F238E27FC236}">
                  <a16:creationId xmlns:a16="http://schemas.microsoft.com/office/drawing/2014/main" id="{9A35FC2D-1095-DE34-A4C0-44294E9AE33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690712" y="4498876"/>
              <a:ext cx="853791" cy="853791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1D638E9-A850-45A6-158D-2CB06A53130D}"/>
                </a:ext>
              </a:extLst>
            </p:cNvPr>
            <p:cNvSpPr txBox="1"/>
            <p:nvPr/>
          </p:nvSpPr>
          <p:spPr>
            <a:xfrm>
              <a:off x="4639799" y="5571886"/>
              <a:ext cx="2955617" cy="92357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DECE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No. of employees in 2024: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600" b="1" i="0" u="none" strike="noStrike" kern="1200" cap="none" spc="0" normalizeH="0" baseline="0" noProof="0">
                  <a:ln>
                    <a:noFill/>
                  </a:ln>
                  <a:solidFill>
                    <a:srgbClr val="99CC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30,000</a:t>
              </a:r>
            </a:p>
          </p:txBody>
        </p:sp>
      </p:grpSp>
      <p:pic>
        <p:nvPicPr>
          <p:cNvPr id="15" name="xxIcon">
            <a:extLst>
              <a:ext uri="{FF2B5EF4-FFF2-40B4-BE49-F238E27FC236}">
                <a16:creationId xmlns:a16="http://schemas.microsoft.com/office/drawing/2014/main" id="{1DD15360-BEF4-EC15-B0A3-B765FB11C00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704137" y="4241108"/>
            <a:ext cx="899766" cy="89976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521FA069-F700-E345-AA54-F25383A27E73}"/>
              </a:ext>
            </a:extLst>
          </p:cNvPr>
          <p:cNvSpPr txBox="1"/>
          <p:nvPr/>
        </p:nvSpPr>
        <p:spPr>
          <a:xfrm>
            <a:off x="437958" y="5217910"/>
            <a:ext cx="3563244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DECE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ogins to our digital channels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>
                <a:ln>
                  <a:noFill/>
                </a:ln>
                <a:solidFill>
                  <a:srgbClr val="99CC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.5 billion</a:t>
            </a:r>
            <a:r>
              <a: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99CC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DECE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 2024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34E9FE3-5813-8B91-A4A8-F13207D68648}"/>
              </a:ext>
            </a:extLst>
          </p:cNvPr>
          <p:cNvSpPr txBox="1"/>
          <p:nvPr/>
        </p:nvSpPr>
        <p:spPr>
          <a:xfrm>
            <a:off x="8274667" y="5234792"/>
            <a:ext cx="3643674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DECE4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Mobile bank: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DECE4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 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99CCFF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4 out of 5 stars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99CCFF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 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DECE4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in app stores in the Nordic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DECE4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4677A02-53C4-5DC8-E559-775D20F65CE7}"/>
              </a:ext>
            </a:extLst>
          </p:cNvPr>
          <p:cNvGrpSpPr/>
          <p:nvPr/>
        </p:nvGrpSpPr>
        <p:grpSpPr>
          <a:xfrm>
            <a:off x="9065116" y="1758081"/>
            <a:ext cx="2954848" cy="1998792"/>
            <a:chOff x="4873209" y="2199397"/>
            <a:chExt cx="2743914" cy="1999312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39541E48-41FC-197D-0AAC-3DF421A2328E}"/>
                </a:ext>
              </a:extLst>
            </p:cNvPr>
            <p:cNvSpPr txBox="1"/>
            <p:nvPr/>
          </p:nvSpPr>
          <p:spPr>
            <a:xfrm>
              <a:off x="4873209" y="3275139"/>
              <a:ext cx="2743914" cy="92357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DECE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Nordea offices (countries): </a:t>
              </a:r>
              <a:br>
                <a: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3600" b="1" i="0" u="none" strike="noStrike" kern="1200" cap="none" spc="0" normalizeH="0" baseline="0" noProof="0">
                  <a:ln>
                    <a:noFill/>
                  </a:ln>
                  <a:solidFill>
                    <a:srgbClr val="99CC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20</a:t>
              </a:r>
              <a:endPara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99CCFF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pic>
          <p:nvPicPr>
            <p:cNvPr id="39" name="xxIcon">
              <a:extLst>
                <a:ext uri="{FF2B5EF4-FFF2-40B4-BE49-F238E27FC236}">
                  <a16:creationId xmlns:a16="http://schemas.microsoft.com/office/drawing/2014/main" id="{CAA6BB8F-C61C-13B9-07E0-BA298EFD6E4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738029" y="2199397"/>
              <a:ext cx="922984" cy="912955"/>
            </a:xfrm>
            <a:prstGeom prst="rect">
              <a:avLst/>
            </a:prstGeom>
          </p:spPr>
        </p:pic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40E7B76C-FAB3-C8B4-F58B-079345256DB4}"/>
              </a:ext>
            </a:extLst>
          </p:cNvPr>
          <p:cNvSpPr txBox="1"/>
          <p:nvPr/>
        </p:nvSpPr>
        <p:spPr>
          <a:xfrm>
            <a:off x="-253675" y="2827587"/>
            <a:ext cx="2878553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DECE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ationalities: 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99CC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>
                <a:ln>
                  <a:noFill/>
                </a:ln>
                <a:solidFill>
                  <a:srgbClr val="99CC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+100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99CC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40" name="xxIcon">
            <a:extLst>
              <a:ext uri="{FF2B5EF4-FFF2-40B4-BE49-F238E27FC236}">
                <a16:creationId xmlns:a16="http://schemas.microsoft.com/office/drawing/2014/main" id="{C1EA7C09-FBE9-A6FA-AFC7-430DD4209FB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98228" y="1784525"/>
            <a:ext cx="974746" cy="899766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A980B8CB-47C6-4F99-5104-7F8355A0F527}"/>
              </a:ext>
            </a:extLst>
          </p:cNvPr>
          <p:cNvSpPr txBox="1"/>
          <p:nvPr/>
        </p:nvSpPr>
        <p:spPr>
          <a:xfrm>
            <a:off x="4054969" y="5226290"/>
            <a:ext cx="4135831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DECE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lobal Finance 2024 digital bank award winner for best user experience in Denmark, Finland and Sweden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9665B38-CFDC-13C5-1F6C-F1E97827A896}"/>
              </a:ext>
            </a:extLst>
          </p:cNvPr>
          <p:cNvSpPr txBox="1"/>
          <p:nvPr/>
        </p:nvSpPr>
        <p:spPr>
          <a:xfrm>
            <a:off x="5601512" y="4484055"/>
            <a:ext cx="942364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800" b="1" i="0" u="none" strike="noStrike" kern="1200" cap="none" spc="0" normalizeH="0" baseline="0" noProof="0">
                <a:ln>
                  <a:noFill/>
                </a:ln>
                <a:solidFill>
                  <a:srgbClr val="99CCFF"/>
                </a:solidFill>
                <a:effectLst/>
                <a:uLnTx/>
                <a:uFillTx/>
                <a:latin typeface="Nordea Sans Small Black"/>
                <a:ea typeface="+mn-ea"/>
                <a:cs typeface="+mn-cs"/>
              </a:rPr>
              <a:t>#1</a:t>
            </a:r>
          </a:p>
        </p:txBody>
      </p:sp>
      <p:pic>
        <p:nvPicPr>
          <p:cNvPr id="7" name="Graphic 6" descr="Star with solid fill">
            <a:extLst>
              <a:ext uri="{FF2B5EF4-FFF2-40B4-BE49-F238E27FC236}">
                <a16:creationId xmlns:a16="http://schemas.microsoft.com/office/drawing/2014/main" id="{6F9FC081-821E-A6D6-6E4D-FBC93588B16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843648" y="4575187"/>
            <a:ext cx="603096" cy="603096"/>
          </a:xfrm>
          <a:prstGeom prst="rect">
            <a:avLst/>
          </a:prstGeom>
        </p:spPr>
      </p:pic>
      <p:pic>
        <p:nvPicPr>
          <p:cNvPr id="9" name="Graphic 8" descr="Star with solid fill">
            <a:extLst>
              <a:ext uri="{FF2B5EF4-FFF2-40B4-BE49-F238E27FC236}">
                <a16:creationId xmlns:a16="http://schemas.microsoft.com/office/drawing/2014/main" id="{17ABFA3C-75EA-7C39-F871-5BF5A6E1D57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493408" y="4575187"/>
            <a:ext cx="603096" cy="603096"/>
          </a:xfrm>
          <a:prstGeom prst="rect">
            <a:avLst/>
          </a:prstGeom>
        </p:spPr>
      </p:pic>
      <p:pic>
        <p:nvPicPr>
          <p:cNvPr id="10" name="Graphic 9" descr="Star with solid fill">
            <a:extLst>
              <a:ext uri="{FF2B5EF4-FFF2-40B4-BE49-F238E27FC236}">
                <a16:creationId xmlns:a16="http://schemas.microsoft.com/office/drawing/2014/main" id="{1DC41644-CFD5-0026-EF7D-1CC12E53899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143168" y="4575187"/>
            <a:ext cx="603096" cy="603096"/>
          </a:xfrm>
          <a:prstGeom prst="rect">
            <a:avLst/>
          </a:prstGeom>
        </p:spPr>
      </p:pic>
      <p:pic>
        <p:nvPicPr>
          <p:cNvPr id="11" name="Graphic 10" descr="Star with solid fill">
            <a:extLst>
              <a:ext uri="{FF2B5EF4-FFF2-40B4-BE49-F238E27FC236}">
                <a16:creationId xmlns:a16="http://schemas.microsoft.com/office/drawing/2014/main" id="{55E82228-01DE-C7EA-84F1-FD2CDBC1E86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779602" y="4590287"/>
            <a:ext cx="603096" cy="603096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800875C-31E0-4B3B-5C40-5505567310FA}"/>
              </a:ext>
            </a:extLst>
          </p:cNvPr>
          <p:cNvSpPr txBox="1"/>
          <p:nvPr/>
        </p:nvSpPr>
        <p:spPr>
          <a:xfrm>
            <a:off x="2679181" y="2827587"/>
            <a:ext cx="2743200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DECE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anguages spoken:  </a:t>
            </a:r>
            <a:b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3600" b="1" i="0" u="none" strike="noStrike" kern="1200" cap="none" spc="0" normalizeH="0" baseline="0" noProof="0">
                <a:ln>
                  <a:noFill/>
                </a:ln>
                <a:solidFill>
                  <a:srgbClr val="99CC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60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99CC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20" name="Graphic 19" descr="Chat outline">
            <a:extLst>
              <a:ext uri="{FF2B5EF4-FFF2-40B4-BE49-F238E27FC236}">
                <a16:creationId xmlns:a16="http://schemas.microsoft.com/office/drawing/2014/main" id="{048FAD52-86FB-A584-A536-67D87448B43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220276" y="1446230"/>
            <a:ext cx="1535326" cy="1535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458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CDF3B4-7394-1033-2B54-7DDE221637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>
            <a:extLst>
              <a:ext uri="{FF2B5EF4-FFF2-40B4-BE49-F238E27FC236}">
                <a16:creationId xmlns:a16="http://schemas.microsoft.com/office/drawing/2014/main" id="{3D61767A-6801-14DB-9C97-D474C4B6FF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11" r="13436"/>
          <a:stretch>
            <a:fillRect/>
          </a:stretch>
        </p:blipFill>
        <p:spPr bwMode="auto">
          <a:xfrm>
            <a:off x="0" y="-4672"/>
            <a:ext cx="7104664" cy="6862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 hidden="1">
            <a:extLst>
              <a:ext uri="{FF2B5EF4-FFF2-40B4-BE49-F238E27FC236}">
                <a16:creationId xmlns:a16="http://schemas.microsoft.com/office/drawing/2014/main" id="{285FFBB7-095C-26AA-0002-2CC7148B34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D14BCCD3-0010-4FBA-B965-2126ADC31932}" type="slidenum">
              <a:rPr lang="en-GB" smtClean="0"/>
              <a:pPr>
                <a:spcAft>
                  <a:spcPts val="600"/>
                </a:spcAft>
              </a:pPr>
              <a:t>5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FF22E90-7632-DD19-AF54-FD963A39F1A5}"/>
              </a:ext>
            </a:extLst>
          </p:cNvPr>
          <p:cNvSpPr/>
          <p:nvPr/>
        </p:nvSpPr>
        <p:spPr>
          <a:xfrm>
            <a:off x="7104664" y="-4672"/>
            <a:ext cx="5188583" cy="68626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340"/>
            <a:endParaRPr lang="en-GB" sz="2098">
              <a:solidFill>
                <a:prstClr val="white"/>
              </a:solidFill>
              <a:latin typeface="Arial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BF95759-A433-6114-04E3-DF18AB5E3192}"/>
              </a:ext>
            </a:extLst>
          </p:cNvPr>
          <p:cNvSpPr/>
          <p:nvPr/>
        </p:nvSpPr>
        <p:spPr>
          <a:xfrm>
            <a:off x="6096000" y="736679"/>
            <a:ext cx="5384488" cy="496555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340"/>
            <a:endParaRPr lang="en-GB" sz="2098">
              <a:solidFill>
                <a:prstClr val="white"/>
              </a:solidFill>
              <a:latin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BB7452-080C-C40E-A56B-F4AC55AC09AF}"/>
              </a:ext>
            </a:extLst>
          </p:cNvPr>
          <p:cNvSpPr txBox="1"/>
          <p:nvPr/>
        </p:nvSpPr>
        <p:spPr>
          <a:xfrm>
            <a:off x="6096000" y="1456389"/>
            <a:ext cx="5384488" cy="452431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914035"/>
            <a:r>
              <a:rPr lang="en-GB" sz="48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rn banking is all about Technology</a:t>
            </a:r>
          </a:p>
          <a:p>
            <a:pPr algn="ctr" defTabSz="914035"/>
            <a:endParaRPr lang="en-GB" sz="32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914035"/>
            <a:r>
              <a:rPr lang="en-GB" sz="2800">
                <a:solidFill>
                  <a:schemeClr val="tx2"/>
                </a:solidFill>
                <a:latin typeface="Arial"/>
                <a:cs typeface="Arial"/>
              </a:rPr>
              <a:t>Nordea is a place where we value true engineering skills</a:t>
            </a:r>
            <a:endParaRPr lang="en-GB" sz="2800">
              <a:solidFill>
                <a:schemeClr val="tx2"/>
              </a:solidFill>
              <a:latin typeface="Arial"/>
              <a:ea typeface="Calibri" panose="020F0502020204030204" pitchFamily="34" charset="0"/>
              <a:cs typeface="Arial"/>
            </a:endParaRPr>
          </a:p>
          <a:p>
            <a:pPr algn="ctr" defTabSz="914035"/>
            <a:endParaRPr lang="en-GB" sz="4800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Logotype, static">
            <a:extLst>
              <a:ext uri="{FF2B5EF4-FFF2-40B4-BE49-F238E27FC236}">
                <a16:creationId xmlns:a16="http://schemas.microsoft.com/office/drawing/2014/main" id="{D6A13429-7D44-1600-086F-1E9421403894}"/>
              </a:ext>
            </a:extLst>
          </p:cNvPr>
          <p:cNvSpPr>
            <a:spLocks noChangeAspect="1"/>
          </p:cNvSpPr>
          <p:nvPr/>
        </p:nvSpPr>
        <p:spPr>
          <a:xfrm>
            <a:off x="10686777" y="6387806"/>
            <a:ext cx="863775" cy="180020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799">
              <a:solidFill>
                <a:srgbClr val="00005E"/>
              </a:solidFill>
            </a:endParaRPr>
          </a:p>
        </p:txBody>
      </p:sp>
      <p:sp>
        <p:nvSpPr>
          <p:cNvPr id="6" name="Logotype, static">
            <a:extLst>
              <a:ext uri="{FF2B5EF4-FFF2-40B4-BE49-F238E27FC236}">
                <a16:creationId xmlns:a16="http://schemas.microsoft.com/office/drawing/2014/main" id="{DC3003BA-5A4A-9B66-E716-116FF690A546}"/>
              </a:ext>
            </a:extLst>
          </p:cNvPr>
          <p:cNvSpPr>
            <a:spLocks noChangeAspect="1"/>
          </p:cNvSpPr>
          <p:nvPr/>
        </p:nvSpPr>
        <p:spPr>
          <a:xfrm>
            <a:off x="10686776" y="6387892"/>
            <a:ext cx="863775" cy="180025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1532319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0D282D-4357-1075-7D25-6159D53698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>
            <a:extLst>
              <a:ext uri="{FF2B5EF4-FFF2-40B4-BE49-F238E27FC236}">
                <a16:creationId xmlns:a16="http://schemas.microsoft.com/office/drawing/2014/main" id="{D9285328-02E9-FF31-20FE-231E56FC9E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70" r="16724"/>
          <a:stretch>
            <a:fillRect/>
          </a:stretch>
        </p:blipFill>
        <p:spPr bwMode="auto">
          <a:xfrm>
            <a:off x="4582633" y="-4239"/>
            <a:ext cx="7609368" cy="7036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65D868E-C185-B071-E2F3-2B26BF6E0A52}"/>
              </a:ext>
            </a:extLst>
          </p:cNvPr>
          <p:cNvSpPr/>
          <p:nvPr/>
        </p:nvSpPr>
        <p:spPr>
          <a:xfrm>
            <a:off x="-4776" y="-2195"/>
            <a:ext cx="4587409" cy="6864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10A3388F-ED75-E54D-57AB-967D1BA11AE6}"/>
              </a:ext>
            </a:extLst>
          </p:cNvPr>
          <p:cNvSpPr txBox="1">
            <a:spLocks/>
          </p:cNvSpPr>
          <p:nvPr/>
        </p:nvSpPr>
        <p:spPr>
          <a:xfrm>
            <a:off x="647832" y="6373457"/>
            <a:ext cx="323916" cy="14399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1088776" rtl="0" eaLnBrk="1" latinLnBrk="0" hangingPunct="1">
              <a:defRPr sz="900" kern="1200">
                <a:solidFill>
                  <a:srgbClr val="8B8A8D"/>
                </a:solidFill>
                <a:latin typeface="+mn-lt"/>
                <a:ea typeface="+mn-ea"/>
                <a:cs typeface="+mn-cs"/>
              </a:defRPr>
            </a:lvl1pPr>
            <a:lvl2pPr marL="54438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77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16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552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BCCD3-0010-4FBA-B965-2126ADC31932}" type="slidenum"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8B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8B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94661C79-6EAD-5FE4-E809-4623D9B8E9A5}"/>
              </a:ext>
            </a:extLst>
          </p:cNvPr>
          <p:cNvSpPr/>
          <p:nvPr/>
        </p:nvSpPr>
        <p:spPr>
          <a:xfrm>
            <a:off x="1058858" y="946222"/>
            <a:ext cx="5384488" cy="496555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GB" sz="4800" b="1">
                <a:solidFill>
                  <a:schemeClr val="tx2"/>
                </a:solidFill>
                <a:latin typeface="+mj-lt"/>
              </a:rPr>
              <a:t>A trusted partner for all needs and life stages</a:t>
            </a:r>
            <a:endParaRPr lang="en-GB" sz="4800" b="1">
              <a:solidFill>
                <a:schemeClr val="tx2"/>
              </a:solidFill>
              <a:latin typeface="+mj-lt"/>
              <a:cs typeface="Arial"/>
            </a:endParaRPr>
          </a:p>
        </p:txBody>
      </p:sp>
      <p:sp>
        <p:nvSpPr>
          <p:cNvPr id="4" name="Logotype, static">
            <a:extLst>
              <a:ext uri="{FF2B5EF4-FFF2-40B4-BE49-F238E27FC236}">
                <a16:creationId xmlns:a16="http://schemas.microsoft.com/office/drawing/2014/main" id="{9ADB7B78-F80B-91E5-F894-18379D966470}"/>
              </a:ext>
            </a:extLst>
          </p:cNvPr>
          <p:cNvSpPr>
            <a:spLocks noChangeAspect="1"/>
          </p:cNvSpPr>
          <p:nvPr/>
        </p:nvSpPr>
        <p:spPr>
          <a:xfrm>
            <a:off x="10686776" y="6387892"/>
            <a:ext cx="863775" cy="180025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1137183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24C37A-90FE-4668-EAD8-C22A3BAF3E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0AC0A09-D381-3AB9-C57B-1DEA558825E9}"/>
              </a:ext>
            </a:extLst>
          </p:cNvPr>
          <p:cNvSpPr/>
          <p:nvPr/>
        </p:nvSpPr>
        <p:spPr>
          <a:xfrm>
            <a:off x="-114270" y="1421163"/>
            <a:ext cx="12382478" cy="44059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60009D4A-98DD-710D-9695-4DA36F70BAE9}"/>
              </a:ext>
            </a:extLst>
          </p:cNvPr>
          <p:cNvSpPr txBox="1">
            <a:spLocks/>
          </p:cNvSpPr>
          <p:nvPr/>
        </p:nvSpPr>
        <p:spPr>
          <a:xfrm>
            <a:off x="647831" y="360088"/>
            <a:ext cx="11345529" cy="7199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088776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defTabSz="1088449">
              <a:defRPr/>
            </a:pPr>
            <a:r>
              <a:rPr lang="fi-FI" sz="2800" err="1"/>
              <a:t>Driving</a:t>
            </a:r>
            <a:r>
              <a:rPr lang="fi-FI" sz="2800"/>
              <a:t> </a:t>
            </a:r>
            <a:r>
              <a:rPr lang="fi-FI" sz="2800" err="1"/>
              <a:t>deeper</a:t>
            </a:r>
            <a:r>
              <a:rPr lang="fi-FI" sz="2800"/>
              <a:t> </a:t>
            </a:r>
            <a:r>
              <a:rPr lang="fi-FI" sz="2800" err="1"/>
              <a:t>digital</a:t>
            </a:r>
            <a:r>
              <a:rPr lang="fi-FI" sz="2800"/>
              <a:t> </a:t>
            </a:r>
            <a:r>
              <a:rPr lang="fi-FI" sz="2800" err="1"/>
              <a:t>connections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0000A0"/>
              </a:solidFill>
              <a:effectLst/>
              <a:uLnTx/>
              <a:uFillTx/>
              <a:latin typeface="Nordea Sans Large Black" panose="00000A00000000000000" pitchFamily="2" charset="0"/>
              <a:ea typeface="+mj-ea"/>
              <a:cs typeface="+mj-cs"/>
            </a:endParaRPr>
          </a:p>
        </p:txBody>
      </p:sp>
      <p:sp>
        <p:nvSpPr>
          <p:cNvPr id="52" name="Logotype, static">
            <a:extLst>
              <a:ext uri="{FF2B5EF4-FFF2-40B4-BE49-F238E27FC236}">
                <a16:creationId xmlns:a16="http://schemas.microsoft.com/office/drawing/2014/main" id="{A05BD838-1C0F-FD06-C46B-15C6C716BF31}"/>
              </a:ext>
            </a:extLst>
          </p:cNvPr>
          <p:cNvSpPr>
            <a:spLocks noChangeAspect="1"/>
          </p:cNvSpPr>
          <p:nvPr/>
        </p:nvSpPr>
        <p:spPr>
          <a:xfrm>
            <a:off x="10686777" y="6387806"/>
            <a:ext cx="863775" cy="180020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rgbClr val="0000A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5F841AB-D1B6-F433-233F-6B531E8EF731}"/>
              </a:ext>
            </a:extLst>
          </p:cNvPr>
          <p:cNvSpPr txBox="1"/>
          <p:nvPr/>
        </p:nvSpPr>
        <p:spPr>
          <a:xfrm>
            <a:off x="1717460" y="3772202"/>
            <a:ext cx="2432746" cy="18923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399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28% </a:t>
            </a:r>
          </a:p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299" b="1" i="0" u="none" strike="noStrike" kern="1200" cap="none" spc="0" normalizeH="0" baseline="0" noProof="0">
                <a:ln>
                  <a:noFill/>
                </a:ln>
                <a:solidFill>
                  <a:srgbClr val="FDECE4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ctive digital customers increase</a:t>
            </a:r>
            <a:endParaRPr kumimoji="0" lang="en-GB" sz="1799" b="1" i="0" u="none" strike="noStrike" kern="1200" cap="none" spc="0" normalizeH="0" baseline="0" noProof="0">
              <a:ln>
                <a:noFill/>
              </a:ln>
              <a:solidFill>
                <a:srgbClr val="FDECE4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399" b="0" i="0" u="none" strike="noStrike" kern="1200" cap="none" spc="0" normalizeH="0" baseline="0" noProof="0">
              <a:ln>
                <a:noFill/>
              </a:ln>
              <a:solidFill>
                <a:srgbClr val="FDECE4"/>
              </a:solidFill>
              <a:effectLst/>
              <a:uLnTx/>
              <a:uFillTx/>
              <a:latin typeface="Nordea Sans Large Bold" panose="00000800000000000000" pitchFamily="2" charset="0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43AF92C-4447-ACBC-F0B3-BC74D428CF74}"/>
              </a:ext>
            </a:extLst>
          </p:cNvPr>
          <p:cNvSpPr txBox="1"/>
          <p:nvPr/>
        </p:nvSpPr>
        <p:spPr>
          <a:xfrm>
            <a:off x="1923653" y="5363260"/>
            <a:ext cx="22265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C9C7C7">
                    <a:lumMod val="20000"/>
                    <a:lumOff val="80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Jan ’22 vs Aug ‘25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1E58B93-5E38-88FF-4B1D-56BB4E14DC93}"/>
              </a:ext>
            </a:extLst>
          </p:cNvPr>
          <p:cNvSpPr txBox="1"/>
          <p:nvPr/>
        </p:nvSpPr>
        <p:spPr>
          <a:xfrm>
            <a:off x="5147753" y="5363260"/>
            <a:ext cx="21135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C9C7C7">
                    <a:lumMod val="20000"/>
                    <a:lumOff val="80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Jan ’22 vs Aug ‘25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1BFDF23-D85D-B38B-CFDD-0DDE9D3B9285}"/>
              </a:ext>
            </a:extLst>
          </p:cNvPr>
          <p:cNvSpPr txBox="1"/>
          <p:nvPr/>
        </p:nvSpPr>
        <p:spPr>
          <a:xfrm>
            <a:off x="4808615" y="3764127"/>
            <a:ext cx="2525423" cy="15229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399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37% </a:t>
            </a:r>
            <a:br>
              <a:rPr kumimoji="0" lang="en-GB" sz="2399" b="0" i="0" u="none" strike="noStrike" kern="1200" cap="none" spc="0" normalizeH="0" baseline="0" noProof="0">
                <a:ln>
                  <a:noFill/>
                </a:ln>
                <a:solidFill>
                  <a:srgbClr val="FDECE4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en-GB" sz="2299" b="1" i="0" u="none" strike="noStrike" kern="1200" cap="none" spc="0" normalizeH="0" baseline="0" noProof="0">
                <a:ln>
                  <a:noFill/>
                </a:ln>
                <a:solidFill>
                  <a:srgbClr val="FDECE4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gins increase</a:t>
            </a:r>
            <a:br>
              <a:rPr kumimoji="0" lang="en-GB" sz="2299" b="1" i="0" u="none" strike="noStrike" kern="1200" cap="none" spc="0" normalizeH="0" baseline="0" noProof="0">
                <a:ln>
                  <a:noFill/>
                </a:ln>
                <a:solidFill>
                  <a:srgbClr val="FDECE4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en-GB" sz="2299" b="1" i="0" u="none" strike="noStrike" kern="1200" cap="none" spc="0" normalizeH="0" baseline="0" noProof="0">
                <a:ln>
                  <a:noFill/>
                </a:ln>
                <a:solidFill>
                  <a:srgbClr val="FDECE4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o digital channel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4E54B78-ADB7-CB46-C169-278CC436EE80}"/>
              </a:ext>
            </a:extLst>
          </p:cNvPr>
          <p:cNvSpPr txBox="1"/>
          <p:nvPr/>
        </p:nvSpPr>
        <p:spPr>
          <a:xfrm>
            <a:off x="7894017" y="3764128"/>
            <a:ext cx="2683574" cy="15230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399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99%</a:t>
            </a:r>
          </a:p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299" b="1" i="0" u="none" strike="noStrike" kern="1200" cap="none" spc="0" normalizeH="0" baseline="0" noProof="0">
                <a:ln>
                  <a:noFill/>
                </a:ln>
                <a:solidFill>
                  <a:srgbClr val="FDECE4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of customer interactions are digital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8D31A97-CA14-E069-563B-986C2078460C}"/>
              </a:ext>
            </a:extLst>
          </p:cNvPr>
          <p:cNvSpPr txBox="1"/>
          <p:nvPr/>
        </p:nvSpPr>
        <p:spPr>
          <a:xfrm>
            <a:off x="7830027" y="5374030"/>
            <a:ext cx="2811554" cy="3384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C9C7C7">
                    <a:lumMod val="20000"/>
                    <a:lumOff val="80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2025-H1</a:t>
            </a: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A69C253B-C67E-BF9F-79F0-F715BC0C9059}"/>
              </a:ext>
            </a:extLst>
          </p:cNvPr>
          <p:cNvSpPr/>
          <p:nvPr/>
        </p:nvSpPr>
        <p:spPr>
          <a:xfrm>
            <a:off x="7894017" y="1276243"/>
            <a:ext cx="2339391" cy="2339391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530196A3-EE37-70C0-F009-B08F930EC29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95" r="17095"/>
          <a:stretch/>
        </p:blipFill>
        <p:spPr>
          <a:xfrm>
            <a:off x="7987524" y="1339786"/>
            <a:ext cx="2159438" cy="218618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51" name="Oval 50">
            <a:extLst>
              <a:ext uri="{FF2B5EF4-FFF2-40B4-BE49-F238E27FC236}">
                <a16:creationId xmlns:a16="http://schemas.microsoft.com/office/drawing/2014/main" id="{DC12D630-56EE-7993-99DE-1C80122FBC5D}"/>
              </a:ext>
            </a:extLst>
          </p:cNvPr>
          <p:cNvSpPr/>
          <p:nvPr/>
        </p:nvSpPr>
        <p:spPr>
          <a:xfrm>
            <a:off x="4808615" y="1247621"/>
            <a:ext cx="2339391" cy="2339391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8D58C051-1EC5-04DA-8B1C-DCF1969038E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95" r="17095"/>
          <a:stretch/>
        </p:blipFill>
        <p:spPr>
          <a:xfrm>
            <a:off x="4898592" y="1324227"/>
            <a:ext cx="2159438" cy="218618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7381927E-CF82-0D8E-7C04-5D41BBD28A64}"/>
              </a:ext>
            </a:extLst>
          </p:cNvPr>
          <p:cNvGrpSpPr/>
          <p:nvPr/>
        </p:nvGrpSpPr>
        <p:grpSpPr>
          <a:xfrm>
            <a:off x="1935203" y="1193465"/>
            <a:ext cx="8234619" cy="2339391"/>
            <a:chOff x="811329" y="1263411"/>
            <a:chExt cx="8236759" cy="2340000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214EADA5-4980-B6E6-F0ED-F50EAFD8A938}"/>
                </a:ext>
              </a:extLst>
            </p:cNvPr>
            <p:cNvSpPr/>
            <p:nvPr/>
          </p:nvSpPr>
          <p:spPr>
            <a:xfrm>
              <a:off x="811329" y="1263411"/>
              <a:ext cx="2340000" cy="23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2E7EE0D3-E4CF-2BD1-8C44-375F321F2A2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095" r="17095"/>
            <a:stretch/>
          </p:blipFill>
          <p:spPr>
            <a:xfrm>
              <a:off x="901329" y="1317581"/>
              <a:ext cx="2160000" cy="2186749"/>
            </a:xfrm>
            <a:prstGeom prst="ellipse">
              <a:avLst/>
            </a:prstGeom>
            <a:ln w="63500" cap="rnd">
              <a:noFill/>
            </a:ln>
            <a:effectLst/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8CDFFA42-03AB-FABA-E6BC-E6EE0C05FCB9}"/>
                </a:ext>
              </a:extLst>
            </p:cNvPr>
            <p:cNvSpPr/>
            <p:nvPr/>
          </p:nvSpPr>
          <p:spPr>
            <a:xfrm>
              <a:off x="6865223" y="1407580"/>
              <a:ext cx="2182865" cy="2195831"/>
            </a:xfrm>
            <a:prstGeom prst="ellipse">
              <a:avLst/>
            </a:prstGeom>
            <a:noFill/>
            <a:ln w="57150">
              <a:solidFill>
                <a:srgbClr val="F4F4F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86CB6FA-91DC-2997-5910-44BF40ADBF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7832" y="6373457"/>
            <a:ext cx="323916" cy="14399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BCCD3-0010-4FBA-B965-2126ADC31932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8B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8B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84EF950-5912-A1D2-F925-CEE2F120DD29}"/>
              </a:ext>
            </a:extLst>
          </p:cNvPr>
          <p:cNvSpPr/>
          <p:nvPr/>
        </p:nvSpPr>
        <p:spPr>
          <a:xfrm>
            <a:off x="2025179" y="1247621"/>
            <a:ext cx="2159439" cy="2172810"/>
          </a:xfrm>
          <a:prstGeom prst="ellipse">
            <a:avLst/>
          </a:prstGeom>
          <a:noFill/>
          <a:ln w="57150">
            <a:solidFill>
              <a:srgbClr val="F4F4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1C9D2C8-4C53-1682-7646-2EEC909A8281}"/>
              </a:ext>
            </a:extLst>
          </p:cNvPr>
          <p:cNvSpPr/>
          <p:nvPr/>
        </p:nvSpPr>
        <p:spPr>
          <a:xfrm>
            <a:off x="4887161" y="1324227"/>
            <a:ext cx="2182297" cy="2194167"/>
          </a:xfrm>
          <a:prstGeom prst="ellipse">
            <a:avLst/>
          </a:prstGeom>
          <a:noFill/>
          <a:ln w="57150">
            <a:solidFill>
              <a:srgbClr val="F4F4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5185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500459-0C18-6D4A-56A0-61C3C8EFEB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0605B1C-DFB1-AF47-C042-F1E1C94A71E3}"/>
              </a:ext>
            </a:extLst>
          </p:cNvPr>
          <p:cNvSpPr/>
          <p:nvPr/>
        </p:nvSpPr>
        <p:spPr>
          <a:xfrm>
            <a:off x="-115292" y="1421163"/>
            <a:ext cx="12383500" cy="44059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1AD95997-BD7E-6E00-7F3E-49F9A7DEC6A2}"/>
              </a:ext>
            </a:extLst>
          </p:cNvPr>
          <p:cNvSpPr/>
          <p:nvPr/>
        </p:nvSpPr>
        <p:spPr>
          <a:xfrm>
            <a:off x="9064558" y="2724350"/>
            <a:ext cx="2173987" cy="1799531"/>
          </a:xfrm>
          <a:prstGeom prst="rightArrow">
            <a:avLst>
              <a:gd name="adj1" fmla="val 100000"/>
              <a:gd name="adj2" fmla="val 2073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F2988394-2C86-2ED4-2DA9-747310B3A5F2}"/>
              </a:ext>
            </a:extLst>
          </p:cNvPr>
          <p:cNvSpPr txBox="1"/>
          <p:nvPr/>
        </p:nvSpPr>
        <p:spPr>
          <a:xfrm>
            <a:off x="1002304" y="4149575"/>
            <a:ext cx="3239156" cy="8307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1" i="0" u="none" strike="noStrike" kern="1200" cap="none" spc="0" normalizeH="0" baseline="0" noProof="0">
                <a:ln>
                  <a:noFill/>
                </a:ln>
                <a:solidFill>
                  <a:srgbClr val="FDECE4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duction in </a:t>
            </a:r>
            <a:br>
              <a:rPr kumimoji="0" lang="en-US" sz="2399" b="1" i="0" u="none" strike="noStrike" kern="1200" cap="none" spc="0" normalizeH="0" baseline="0" noProof="0">
                <a:ln>
                  <a:noFill/>
                </a:ln>
                <a:solidFill>
                  <a:srgbClr val="FDECE4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en-US" sz="2399" b="1" i="0" u="none" strike="noStrike" kern="1200" cap="none" spc="0" normalizeH="0" baseline="0" noProof="0">
                <a:ln>
                  <a:noFill/>
                </a:ln>
                <a:solidFill>
                  <a:srgbClr val="FDECE4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raud losses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E5002504-8133-02BF-02F5-536B8B79C3F3}"/>
              </a:ext>
            </a:extLst>
          </p:cNvPr>
          <p:cNvSpPr txBox="1"/>
          <p:nvPr/>
        </p:nvSpPr>
        <p:spPr>
          <a:xfrm>
            <a:off x="929070" y="5158246"/>
            <a:ext cx="3239156" cy="5846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C9C7C7">
                    <a:lumMod val="20000"/>
                    <a:lumOff val="80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otal realised fraud losses</a:t>
            </a:r>
            <a:b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C9C7C7">
                    <a:lumMod val="20000"/>
                    <a:lumOff val="80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C9C7C7">
                    <a:lumMod val="20000"/>
                    <a:lumOff val="80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1 ’24 vs H1 ‘25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45AB40D1-56D6-973D-89BF-76215F1C82BB}"/>
              </a:ext>
            </a:extLst>
          </p:cNvPr>
          <p:cNvSpPr txBox="1"/>
          <p:nvPr/>
        </p:nvSpPr>
        <p:spPr>
          <a:xfrm>
            <a:off x="4406444" y="3692654"/>
            <a:ext cx="3239156" cy="461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399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76% 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8F2EA105-60B5-3368-C255-A1DC76FB6EE4}"/>
              </a:ext>
            </a:extLst>
          </p:cNvPr>
          <p:cNvSpPr txBox="1"/>
          <p:nvPr/>
        </p:nvSpPr>
        <p:spPr>
          <a:xfrm>
            <a:off x="4804002" y="4158710"/>
            <a:ext cx="2462118" cy="12000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399" b="1" i="0" u="none" strike="noStrike" kern="1200" cap="none" spc="0" normalizeH="0" baseline="0" noProof="0">
                <a:ln>
                  <a:noFill/>
                </a:ln>
                <a:solidFill>
                  <a:srgbClr val="FDECE4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of all chats are handled by chatbot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02169D1E-A542-7567-AC10-D99C436C278B}"/>
              </a:ext>
            </a:extLst>
          </p:cNvPr>
          <p:cNvSpPr txBox="1"/>
          <p:nvPr/>
        </p:nvSpPr>
        <p:spPr>
          <a:xfrm>
            <a:off x="4415482" y="5404403"/>
            <a:ext cx="3239156" cy="3384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C9C7C7">
                    <a:lumMod val="20000"/>
                    <a:lumOff val="80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ug ‘25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C0E1552-4BE3-B0AF-2E94-58BC758422E3}"/>
              </a:ext>
            </a:extLst>
          </p:cNvPr>
          <p:cNvSpPr/>
          <p:nvPr/>
        </p:nvSpPr>
        <p:spPr>
          <a:xfrm>
            <a:off x="8321203" y="1286027"/>
            <a:ext cx="2339391" cy="2339391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46654CA-6818-9783-2678-54A1EF635EC7}"/>
              </a:ext>
            </a:extLst>
          </p:cNvPr>
          <p:cNvSpPr/>
          <p:nvPr/>
        </p:nvSpPr>
        <p:spPr>
          <a:xfrm>
            <a:off x="4888825" y="1286027"/>
            <a:ext cx="2339391" cy="2339391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95769AC-58AF-B9FE-4CB6-152BBCA7E5A2}"/>
              </a:ext>
            </a:extLst>
          </p:cNvPr>
          <p:cNvSpPr/>
          <p:nvPr/>
        </p:nvSpPr>
        <p:spPr>
          <a:xfrm>
            <a:off x="1558062" y="1286027"/>
            <a:ext cx="2339391" cy="2339391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Title 3">
            <a:extLst>
              <a:ext uri="{FF2B5EF4-FFF2-40B4-BE49-F238E27FC236}">
                <a16:creationId xmlns:a16="http://schemas.microsoft.com/office/drawing/2014/main" id="{25933B6D-F319-6EE4-62D5-950D9F8BC598}"/>
              </a:ext>
            </a:extLst>
          </p:cNvPr>
          <p:cNvSpPr txBox="1">
            <a:spLocks/>
          </p:cNvSpPr>
          <p:nvPr/>
        </p:nvSpPr>
        <p:spPr>
          <a:xfrm>
            <a:off x="690447" y="327363"/>
            <a:ext cx="11474419" cy="7199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088776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2800"/>
              <a:t>Making banking safe, easy and personal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0000A0"/>
              </a:solidFill>
              <a:effectLst/>
              <a:uLnTx/>
              <a:uFillTx/>
              <a:latin typeface="Nordea Sans Large Black" panose="00000A00000000000000" pitchFamily="2" charset="0"/>
              <a:ea typeface="+mj-ea"/>
              <a:cs typeface="+mj-cs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176E6768-9158-6E37-F036-F1AC924302D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511" t="15167" r="24680" b="14278"/>
          <a:stretch/>
        </p:blipFill>
        <p:spPr>
          <a:xfrm>
            <a:off x="5227765" y="1616278"/>
            <a:ext cx="1497342" cy="1624083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D373BEA-F428-6FD5-E0D9-738237A4A03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946" r="23511"/>
          <a:stretch/>
        </p:blipFill>
        <p:spPr>
          <a:xfrm>
            <a:off x="8831933" y="1505362"/>
            <a:ext cx="1259212" cy="2096881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AA8F0C8D-4168-B813-F7A4-3F85F608381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39223" y="1860814"/>
            <a:ext cx="1020091" cy="129611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7983FBC-AF95-F34B-AA8A-8006B99EA48C}"/>
              </a:ext>
            </a:extLst>
          </p:cNvPr>
          <p:cNvSpPr txBox="1"/>
          <p:nvPr/>
        </p:nvSpPr>
        <p:spPr>
          <a:xfrm>
            <a:off x="7967540" y="3692654"/>
            <a:ext cx="3239156" cy="461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399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.6 bill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DE0126D-E672-B5E9-88CC-EAA20B519D45}"/>
              </a:ext>
            </a:extLst>
          </p:cNvPr>
          <p:cNvSpPr txBox="1"/>
          <p:nvPr/>
        </p:nvSpPr>
        <p:spPr>
          <a:xfrm>
            <a:off x="8209572" y="4149575"/>
            <a:ext cx="2755093" cy="12000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399" b="1" i="0" u="none" strike="noStrike" kern="1200" cap="none" spc="0" normalizeH="0" baseline="0" noProof="0">
                <a:ln>
                  <a:noFill/>
                </a:ln>
                <a:solidFill>
                  <a:srgbClr val="FDECE4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ersonalised</a:t>
            </a:r>
            <a:br>
              <a:rPr kumimoji="0" lang="en-GB" sz="2399" b="1" i="0" u="none" strike="noStrike" kern="1200" cap="none" spc="0" normalizeH="0" baseline="0" noProof="0">
                <a:ln>
                  <a:noFill/>
                </a:ln>
                <a:solidFill>
                  <a:srgbClr val="FDECE4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en-GB" sz="2399" b="1" i="0" u="none" strike="noStrike" kern="1200" cap="none" spc="0" normalizeH="0" baseline="0" noProof="0">
                <a:ln>
                  <a:noFill/>
                </a:ln>
                <a:solidFill>
                  <a:srgbClr val="FDECE4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-app actionable insigh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6DE5239-D4AC-3553-B0ED-1412910ED53F}"/>
              </a:ext>
            </a:extLst>
          </p:cNvPr>
          <p:cNvSpPr txBox="1"/>
          <p:nvPr/>
        </p:nvSpPr>
        <p:spPr>
          <a:xfrm>
            <a:off x="7967540" y="5404403"/>
            <a:ext cx="3239156" cy="3384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~average yearl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0E3791F-F028-2BD0-BC46-5F3AEB5A81BA}"/>
              </a:ext>
            </a:extLst>
          </p:cNvPr>
          <p:cNvSpPr txBox="1"/>
          <p:nvPr/>
        </p:nvSpPr>
        <p:spPr>
          <a:xfrm>
            <a:off x="1002304" y="3692654"/>
            <a:ext cx="3239156" cy="461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399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&gt;30%</a:t>
            </a:r>
          </a:p>
        </p:txBody>
      </p:sp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EC61151E-F330-81E5-0BE8-D686E9CD09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7832" y="6373457"/>
            <a:ext cx="323916" cy="14399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BCCD3-0010-4FBA-B965-2126ADC31932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8B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8B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4710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D981B3-2A39-63D2-925E-6A418F26E2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ounded Rectangle 5">
            <a:extLst>
              <a:ext uri="{FF2B5EF4-FFF2-40B4-BE49-F238E27FC236}">
                <a16:creationId xmlns:a16="http://schemas.microsoft.com/office/drawing/2014/main" id="{49804BA2-F0E4-8330-91E1-0ED5EF1D9666}"/>
              </a:ext>
            </a:extLst>
          </p:cNvPr>
          <p:cNvSpPr/>
          <p:nvPr/>
        </p:nvSpPr>
        <p:spPr>
          <a:xfrm>
            <a:off x="755519" y="1968194"/>
            <a:ext cx="3167111" cy="3792594"/>
          </a:xfrm>
          <a:prstGeom prst="roundRect">
            <a:avLst>
              <a:gd name="adj" fmla="val 2890"/>
            </a:avLst>
          </a:prstGeom>
          <a:solidFill>
            <a:srgbClr val="DAE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52" tIns="45728" rIns="91452" bIns="457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10">
              <a:defRPr/>
            </a:pPr>
            <a:endParaRPr lang="en-SE" sz="1400">
              <a:solidFill>
                <a:srgbClr val="00005E"/>
              </a:solidFill>
              <a:latin typeface="Arial"/>
            </a:endParaRPr>
          </a:p>
        </p:txBody>
      </p:sp>
      <p:sp>
        <p:nvSpPr>
          <p:cNvPr id="13" name="Rounded Rectangle 5">
            <a:extLst>
              <a:ext uri="{FF2B5EF4-FFF2-40B4-BE49-F238E27FC236}">
                <a16:creationId xmlns:a16="http://schemas.microsoft.com/office/drawing/2014/main" id="{1D7639A5-711D-00DC-A66A-7A2FCF6EF7A6}"/>
              </a:ext>
            </a:extLst>
          </p:cNvPr>
          <p:cNvSpPr/>
          <p:nvPr/>
        </p:nvSpPr>
        <p:spPr>
          <a:xfrm>
            <a:off x="3582083" y="1327464"/>
            <a:ext cx="8208160" cy="4893031"/>
          </a:xfrm>
          <a:prstGeom prst="roundRect">
            <a:avLst>
              <a:gd name="adj" fmla="val 2890"/>
            </a:avLst>
          </a:prstGeom>
          <a:solidFill>
            <a:srgbClr val="0000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52" tIns="45728" rIns="91452" bIns="457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10">
              <a:defRPr/>
            </a:pPr>
            <a:endParaRPr lang="en-SE" sz="1400">
              <a:solidFill>
                <a:srgbClr val="00005E"/>
              </a:solidFill>
              <a:latin typeface="Arial"/>
            </a:endParaRPr>
          </a:p>
        </p:txBody>
      </p:sp>
      <p:graphicFrame>
        <p:nvGraphicFramePr>
          <p:cNvPr id="38" name="think-cell data - do not delete" hidden="1">
            <a:extLst>
              <a:ext uri="{FF2B5EF4-FFF2-40B4-BE49-F238E27FC236}">
                <a16:creationId xmlns:a16="http://schemas.microsoft.com/office/drawing/2014/main" id="{3A4CB923-B569-E8AA-560E-56E53E8F40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7590369"/>
              </p:ext>
            </p:extLst>
          </p:nvPr>
        </p:nvGraphicFramePr>
        <p:xfrm>
          <a:off x="1588" y="1686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3" progId="TCLayout.ActiveDocument.1">
                  <p:embed/>
                </p:oleObj>
              </mc:Choice>
              <mc:Fallback>
                <p:oleObj name="think-cell Slide" r:id="rId4" imgW="404" imgH="403" progId="TCLayout.ActiveDocument.1">
                  <p:embed/>
                  <p:pic>
                    <p:nvPicPr>
                      <p:cNvPr id="3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A4CB923-B569-E8AA-560E-56E53E8F40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686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6252547-9DC5-1F95-987A-7F6C2FDEE1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88449"/>
            <a:fld id="{D14BCCD3-0010-4FBA-B965-2126ADC31932}" type="slidenum">
              <a:rPr lang="en-GB">
                <a:latin typeface="Arial"/>
              </a:rPr>
              <a:pPr defTabSz="1088449"/>
              <a:t>9</a:t>
            </a:fld>
            <a:endParaRPr lang="en-GB">
              <a:latin typeface="Arial"/>
            </a:endParaRPr>
          </a:p>
        </p:txBody>
      </p:sp>
      <p:sp>
        <p:nvSpPr>
          <p:cNvPr id="67" name="TextBox 1029">
            <a:extLst>
              <a:ext uri="{FF2B5EF4-FFF2-40B4-BE49-F238E27FC236}">
                <a16:creationId xmlns:a16="http://schemas.microsoft.com/office/drawing/2014/main" id="{5B8C4633-A7D6-C179-7ADB-B5F797FF214F}"/>
              </a:ext>
            </a:extLst>
          </p:cNvPr>
          <p:cNvSpPr txBox="1"/>
          <p:nvPr/>
        </p:nvSpPr>
        <p:spPr>
          <a:xfrm>
            <a:off x="6698943" y="2424891"/>
            <a:ext cx="680431" cy="307693"/>
          </a:xfrm>
          <a:prstGeom prst="rect">
            <a:avLst/>
          </a:prstGeom>
          <a:noFill/>
        </p:spPr>
        <p:txBody>
          <a:bodyPr wrap="square" lIns="91410" tIns="45706" rIns="91410" bIns="45706" rtlCol="0" anchor="t">
            <a:spAutoFit/>
          </a:bodyPr>
          <a:lstStyle>
            <a:defPPr>
              <a:defRPr lang="en-US"/>
            </a:defPPr>
            <a:lvl1pPr marL="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38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77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16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552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88122">
              <a:defRPr/>
            </a:pPr>
            <a:r>
              <a:rPr lang="en-GB" sz="1400">
                <a:solidFill>
                  <a:srgbClr val="00005E"/>
                </a:solidFill>
                <a:latin typeface="Nordea Sans Large Light" pitchFamily="2" charset="77"/>
              </a:rPr>
              <a:t>Now</a:t>
            </a:r>
          </a:p>
        </p:txBody>
      </p:sp>
      <p:sp>
        <p:nvSpPr>
          <p:cNvPr id="68" name="TextBox 1029">
            <a:extLst>
              <a:ext uri="{FF2B5EF4-FFF2-40B4-BE49-F238E27FC236}">
                <a16:creationId xmlns:a16="http://schemas.microsoft.com/office/drawing/2014/main" id="{F6D50470-6D27-FA22-2D53-47D5529C52C4}"/>
              </a:ext>
            </a:extLst>
          </p:cNvPr>
          <p:cNvSpPr txBox="1"/>
          <p:nvPr/>
        </p:nvSpPr>
        <p:spPr>
          <a:xfrm>
            <a:off x="8679032" y="2249061"/>
            <a:ext cx="680431" cy="307693"/>
          </a:xfrm>
          <a:prstGeom prst="rect">
            <a:avLst/>
          </a:prstGeom>
          <a:noFill/>
        </p:spPr>
        <p:txBody>
          <a:bodyPr wrap="square" lIns="91410" tIns="45706" rIns="91410" bIns="45706" rtlCol="0" anchor="t">
            <a:spAutoFit/>
          </a:bodyPr>
          <a:lstStyle>
            <a:defPPr>
              <a:defRPr lang="en-US"/>
            </a:defPPr>
            <a:lvl1pPr marL="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38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77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16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552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88122">
              <a:defRPr/>
            </a:pPr>
            <a:r>
              <a:rPr lang="en-GB" sz="1400">
                <a:solidFill>
                  <a:srgbClr val="00005E"/>
                </a:solidFill>
                <a:latin typeface="Nordea Sans Large Light" pitchFamily="2" charset="77"/>
              </a:rPr>
              <a:t>Next</a:t>
            </a:r>
          </a:p>
        </p:txBody>
      </p:sp>
      <p:sp>
        <p:nvSpPr>
          <p:cNvPr id="69" name="TextBox 1029">
            <a:extLst>
              <a:ext uri="{FF2B5EF4-FFF2-40B4-BE49-F238E27FC236}">
                <a16:creationId xmlns:a16="http://schemas.microsoft.com/office/drawing/2014/main" id="{12E5A616-ECBF-B56D-472F-F8E5776FA56B}"/>
              </a:ext>
            </a:extLst>
          </p:cNvPr>
          <p:cNvSpPr txBox="1"/>
          <p:nvPr/>
        </p:nvSpPr>
        <p:spPr>
          <a:xfrm>
            <a:off x="10294430" y="2012337"/>
            <a:ext cx="1202825" cy="307693"/>
          </a:xfrm>
          <a:prstGeom prst="rect">
            <a:avLst/>
          </a:prstGeom>
          <a:noFill/>
        </p:spPr>
        <p:txBody>
          <a:bodyPr wrap="square" lIns="91410" tIns="45706" rIns="91410" bIns="45706" rtlCol="0" anchor="t">
            <a:spAutoFit/>
          </a:bodyPr>
          <a:lstStyle>
            <a:defPPr>
              <a:defRPr lang="en-US"/>
            </a:defPPr>
            <a:lvl1pPr marL="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38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77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16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552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88122">
              <a:defRPr/>
            </a:pPr>
            <a:r>
              <a:rPr lang="en-GB" sz="1400">
                <a:solidFill>
                  <a:srgbClr val="00005E"/>
                </a:solidFill>
                <a:latin typeface="Nordea Sans Large Light" pitchFamily="2" charset="77"/>
              </a:rPr>
              <a:t>Long term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8139DA6B-6D40-E9C1-8937-CD6A1C56712A}"/>
              </a:ext>
            </a:extLst>
          </p:cNvPr>
          <p:cNvSpPr/>
          <p:nvPr/>
        </p:nvSpPr>
        <p:spPr>
          <a:xfrm>
            <a:off x="5129346" y="2910460"/>
            <a:ext cx="2043689" cy="1300106"/>
          </a:xfrm>
          <a:prstGeom prst="roundRect">
            <a:avLst>
              <a:gd name="adj" fmla="val 14301"/>
            </a:avLst>
          </a:prstGeom>
          <a:solidFill>
            <a:srgbClr val="D6EB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5991" tIns="45719" rIns="35991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088340">
              <a:spcAft>
                <a:spcPts val="600"/>
              </a:spcAft>
              <a:defRPr/>
            </a:pPr>
            <a:r>
              <a:rPr lang="en-GB" sz="1400" b="1">
                <a:solidFill>
                  <a:srgbClr val="00005E"/>
                </a:solidFill>
                <a:latin typeface="+mj-lt"/>
              </a:rPr>
              <a:t>Single &amp; platform use cases for everyday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F826ECC-0C19-1E1F-427A-0E95580BE476}"/>
              </a:ext>
            </a:extLst>
          </p:cNvPr>
          <p:cNvSpPr/>
          <p:nvPr/>
        </p:nvSpPr>
        <p:spPr>
          <a:xfrm>
            <a:off x="7284002" y="2711966"/>
            <a:ext cx="2051143" cy="1498600"/>
          </a:xfrm>
          <a:prstGeom prst="roundRect">
            <a:avLst>
              <a:gd name="adj" fmla="val 14301"/>
            </a:avLst>
          </a:prstGeom>
          <a:solidFill>
            <a:srgbClr val="D6EB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5991" tIns="45719" rIns="35991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088340">
              <a:spcAft>
                <a:spcPts val="600"/>
              </a:spcAft>
              <a:defRPr/>
            </a:pPr>
            <a:r>
              <a:rPr lang="en-GB" sz="1400" b="1">
                <a:solidFill>
                  <a:srgbClr val="00005E"/>
                </a:solidFill>
                <a:latin typeface="+mj-lt"/>
              </a:rPr>
              <a:t>AI-driven process transformation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7676DA8-25CD-136E-96D3-1BDBEF79FECB}"/>
              </a:ext>
            </a:extLst>
          </p:cNvPr>
          <p:cNvSpPr/>
          <p:nvPr/>
        </p:nvSpPr>
        <p:spPr>
          <a:xfrm>
            <a:off x="9446112" y="2517655"/>
            <a:ext cx="2051142" cy="1692911"/>
          </a:xfrm>
          <a:prstGeom prst="roundRect">
            <a:avLst>
              <a:gd name="adj" fmla="val 14301"/>
            </a:avLst>
          </a:prstGeom>
          <a:solidFill>
            <a:srgbClr val="D6EB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5991" tIns="45719" rIns="35991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088340">
              <a:spcAft>
                <a:spcPts val="600"/>
              </a:spcAft>
              <a:defRPr/>
            </a:pPr>
            <a:r>
              <a:rPr lang="en-GB" sz="1400" b="1">
                <a:solidFill>
                  <a:srgbClr val="00005E"/>
                </a:solidFill>
                <a:latin typeface="+mj-lt"/>
              </a:rPr>
              <a:t>Next-gen autonomous banking experienc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4EB48E8-23DB-5A71-2461-C2FA891F61FD}"/>
              </a:ext>
            </a:extLst>
          </p:cNvPr>
          <p:cNvSpPr/>
          <p:nvPr/>
        </p:nvSpPr>
        <p:spPr>
          <a:xfrm>
            <a:off x="5129347" y="4338933"/>
            <a:ext cx="6367910" cy="492907"/>
          </a:xfrm>
          <a:prstGeom prst="roundRect">
            <a:avLst>
              <a:gd name="adj" fmla="val 18938"/>
            </a:avLst>
          </a:prstGeom>
          <a:solidFill>
            <a:srgbClr val="D6EB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7" tIns="45719" rIns="91437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088449">
              <a:defRPr/>
            </a:pPr>
            <a:r>
              <a:rPr lang="en-GB" sz="1400" b="1">
                <a:solidFill>
                  <a:srgbClr val="00005E"/>
                </a:solidFill>
                <a:latin typeface="+mj-lt"/>
              </a:rPr>
              <a:t>AI technology platform </a:t>
            </a:r>
            <a:r>
              <a:rPr lang="en-GB" sz="1400">
                <a:solidFill>
                  <a:srgbClr val="00005E"/>
                </a:solidFill>
                <a:latin typeface="+mj-lt"/>
              </a:rPr>
              <a:t>to enable safe and scalable development 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2B41D8A8-0D94-84A3-D976-249C4120ADA1}"/>
              </a:ext>
            </a:extLst>
          </p:cNvPr>
          <p:cNvSpPr/>
          <p:nvPr/>
        </p:nvSpPr>
        <p:spPr>
          <a:xfrm>
            <a:off x="5129347" y="4927907"/>
            <a:ext cx="6367910" cy="492907"/>
          </a:xfrm>
          <a:prstGeom prst="roundRect">
            <a:avLst>
              <a:gd name="adj" fmla="val 22029"/>
            </a:avLst>
          </a:prstGeom>
          <a:solidFill>
            <a:srgbClr val="D6EB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7" tIns="45719" rIns="91437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088449">
              <a:defRPr/>
            </a:pPr>
            <a:r>
              <a:rPr lang="en-GB" sz="1400" b="1">
                <a:solidFill>
                  <a:srgbClr val="00005E"/>
                </a:solidFill>
                <a:latin typeface="+mj-lt"/>
              </a:rPr>
              <a:t>Organisation &amp; talent </a:t>
            </a:r>
            <a:r>
              <a:rPr lang="en-GB" sz="1400">
                <a:solidFill>
                  <a:srgbClr val="00005E"/>
                </a:solidFill>
                <a:latin typeface="+mj-lt"/>
              </a:rPr>
              <a:t>to drive innovation &amp; value and leverage partnership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DB494CC-7F44-9A93-FD42-0ECDB51554FF}"/>
              </a:ext>
            </a:extLst>
          </p:cNvPr>
          <p:cNvSpPr/>
          <p:nvPr/>
        </p:nvSpPr>
        <p:spPr>
          <a:xfrm>
            <a:off x="5129347" y="5516881"/>
            <a:ext cx="6367910" cy="492907"/>
          </a:xfrm>
          <a:prstGeom prst="roundRect">
            <a:avLst>
              <a:gd name="adj" fmla="val 18938"/>
            </a:avLst>
          </a:prstGeom>
          <a:solidFill>
            <a:srgbClr val="D6EB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7" tIns="45719" rIns="91437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088449">
              <a:defRPr/>
            </a:pPr>
            <a:r>
              <a:rPr lang="en-GB" sz="1400" b="1">
                <a:solidFill>
                  <a:srgbClr val="00005E"/>
                </a:solidFill>
                <a:latin typeface="+mj-lt"/>
              </a:rPr>
              <a:t>Safe &amp; trusted </a:t>
            </a:r>
            <a:r>
              <a:rPr lang="en-GB" sz="1400">
                <a:solidFill>
                  <a:srgbClr val="00005E"/>
                </a:solidFill>
                <a:latin typeface="+mj-lt"/>
              </a:rPr>
              <a:t>frameworks, policies and standards for AI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021500B-7ED8-B278-679F-1ECF170EA366}"/>
              </a:ext>
            </a:extLst>
          </p:cNvPr>
          <p:cNvGrpSpPr/>
          <p:nvPr/>
        </p:nvGrpSpPr>
        <p:grpSpPr>
          <a:xfrm>
            <a:off x="805770" y="2101277"/>
            <a:ext cx="2719583" cy="3306619"/>
            <a:chOff x="942446" y="2168550"/>
            <a:chExt cx="2861954" cy="3204830"/>
          </a:xfrm>
        </p:grpSpPr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81D03B3C-8291-AC35-DBF0-B11167D4C3A4}"/>
                </a:ext>
              </a:extLst>
            </p:cNvPr>
            <p:cNvSpPr>
              <a:spLocks/>
            </p:cNvSpPr>
            <p:nvPr/>
          </p:nvSpPr>
          <p:spPr>
            <a:xfrm>
              <a:off x="942446" y="2917642"/>
              <a:ext cx="2861954" cy="2455738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979" tIns="46787" rIns="71979" bIns="4570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088340">
                <a:spcBef>
                  <a:spcPts val="300"/>
                </a:spcBef>
                <a:defRPr/>
              </a:pPr>
              <a:r>
                <a:rPr lang="en-GB" sz="1400" b="1">
                  <a:solidFill>
                    <a:srgbClr val="00005E"/>
                  </a:solidFill>
                </a:rPr>
                <a:t>Customer assistant</a:t>
              </a:r>
            </a:p>
            <a:p>
              <a:pPr defTabSz="1088340">
                <a:spcBef>
                  <a:spcPts val="300"/>
                </a:spcBef>
                <a:spcAft>
                  <a:spcPts val="1200"/>
                </a:spcAft>
                <a:defRPr/>
              </a:pPr>
              <a:r>
                <a:rPr lang="en-GB" sz="1400">
                  <a:solidFill>
                    <a:srgbClr val="00005E"/>
                  </a:solidFill>
                </a:rPr>
                <a:t>6 million chats; ~75% handled by Nova Chatbot</a:t>
              </a:r>
            </a:p>
            <a:p>
              <a:pPr defTabSz="1088340">
                <a:spcBef>
                  <a:spcPts val="300"/>
                </a:spcBef>
                <a:defRPr/>
              </a:pPr>
              <a:r>
                <a:rPr lang="en-GB" sz="1400" b="1">
                  <a:solidFill>
                    <a:srgbClr val="00005E"/>
                  </a:solidFill>
                </a:rPr>
                <a:t>Productivity tools</a:t>
              </a:r>
            </a:p>
            <a:p>
              <a:pPr defTabSz="1088340">
                <a:spcBef>
                  <a:spcPts val="300"/>
                </a:spcBef>
                <a:spcAft>
                  <a:spcPts val="1200"/>
                </a:spcAft>
                <a:defRPr/>
              </a:pPr>
              <a:r>
                <a:rPr lang="en-GB" sz="1400">
                  <a:solidFill>
                    <a:srgbClr val="00005E"/>
                  </a:solidFill>
                </a:rPr>
                <a:t>&gt;18,000 users by end of 2025</a:t>
              </a:r>
              <a:endParaRPr lang="en-GB" sz="1400" strike="sngStrike">
                <a:solidFill>
                  <a:srgbClr val="FF0000"/>
                </a:solidFill>
              </a:endParaRPr>
            </a:p>
            <a:p>
              <a:pPr defTabSz="1088340">
                <a:spcBef>
                  <a:spcPts val="300"/>
                </a:spcBef>
                <a:defRPr/>
              </a:pPr>
              <a:r>
                <a:rPr lang="en-GB" sz="1400" b="1">
                  <a:solidFill>
                    <a:srgbClr val="00005E"/>
                  </a:solidFill>
                </a:rPr>
                <a:t>Crime prevention</a:t>
              </a:r>
            </a:p>
            <a:p>
              <a:pPr defTabSz="1088340">
                <a:spcBef>
                  <a:spcPts val="300"/>
                </a:spcBef>
                <a:defRPr/>
              </a:pPr>
              <a:r>
                <a:rPr lang="en-GB" sz="1400">
                  <a:solidFill>
                    <a:srgbClr val="00005E"/>
                  </a:solidFill>
                </a:rPr>
                <a:t>Automation in know your customer and transaction monitoring processes</a:t>
              </a:r>
              <a:endParaRPr lang="en-GB" sz="1400" strike="sngStrike">
                <a:solidFill>
                  <a:srgbClr val="FF0000"/>
                </a:solidFill>
              </a:endParaRPr>
            </a:p>
            <a:p>
              <a:pPr defTabSz="1088340">
                <a:spcBef>
                  <a:spcPts val="300"/>
                </a:spcBef>
                <a:defRPr/>
              </a:pPr>
              <a:endParaRPr lang="en-GB" sz="1400" b="1">
                <a:solidFill>
                  <a:srgbClr val="00005E"/>
                </a:solidFill>
                <a:latin typeface="+mj-lt"/>
              </a:endParaRPr>
            </a:p>
          </p:txBody>
        </p:sp>
        <p:sp>
          <p:nvSpPr>
            <p:cNvPr id="11" name="Rectangle: Rounded Corners 21">
              <a:extLst>
                <a:ext uri="{FF2B5EF4-FFF2-40B4-BE49-F238E27FC236}">
                  <a16:creationId xmlns:a16="http://schemas.microsoft.com/office/drawing/2014/main" id="{ED54A2CE-B113-D717-08C8-1998A2DE301F}"/>
                </a:ext>
              </a:extLst>
            </p:cNvPr>
            <p:cNvSpPr/>
            <p:nvPr/>
          </p:nvSpPr>
          <p:spPr>
            <a:xfrm>
              <a:off x="1040258" y="2168550"/>
              <a:ext cx="2666328" cy="455219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88449">
                <a:defRPr/>
              </a:pPr>
              <a:r>
                <a:rPr lang="en-GB" sz="1600" b="1">
                  <a:solidFill>
                    <a:prstClr val="white"/>
                  </a:solidFill>
                  <a:latin typeface="+mj-lt"/>
                </a:rPr>
                <a:t>Current use of AI</a:t>
              </a:r>
            </a:p>
          </p:txBody>
        </p:sp>
      </p:grpSp>
      <p:sp>
        <p:nvSpPr>
          <p:cNvPr id="12" name="Rectangle: Rounded Corners 21">
            <a:extLst>
              <a:ext uri="{FF2B5EF4-FFF2-40B4-BE49-F238E27FC236}">
                <a16:creationId xmlns:a16="http://schemas.microsoft.com/office/drawing/2014/main" id="{672BDAB8-E7CB-9A36-26E6-7D173B6DDD77}"/>
              </a:ext>
            </a:extLst>
          </p:cNvPr>
          <p:cNvSpPr/>
          <p:nvPr/>
        </p:nvSpPr>
        <p:spPr>
          <a:xfrm>
            <a:off x="3829687" y="1554974"/>
            <a:ext cx="7663614" cy="455100"/>
          </a:xfrm>
          <a:prstGeom prst="roundRect">
            <a:avLst/>
          </a:prstGeom>
          <a:solidFill>
            <a:srgbClr val="99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88449">
              <a:defRPr/>
            </a:pPr>
            <a:r>
              <a:rPr lang="en-GB" sz="1600" b="1">
                <a:solidFill>
                  <a:srgbClr val="00005E"/>
                </a:solidFill>
                <a:latin typeface="+mj-lt"/>
              </a:rPr>
              <a:t>Our AI agenda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FF9E68A-B234-9C7B-2B13-BA002AB0FBD8}"/>
              </a:ext>
            </a:extLst>
          </p:cNvPr>
          <p:cNvSpPr txBox="1"/>
          <p:nvPr/>
        </p:nvSpPr>
        <p:spPr>
          <a:xfrm>
            <a:off x="3669952" y="3287218"/>
            <a:ext cx="1382641" cy="461665"/>
          </a:xfrm>
          <a:prstGeom prst="rect">
            <a:avLst/>
          </a:prstGeom>
          <a:noFill/>
        </p:spPr>
        <p:txBody>
          <a:bodyPr wrap="square" lIns="35991" rtlCol="0">
            <a:spAutoFit/>
          </a:bodyPr>
          <a:lstStyle/>
          <a:p>
            <a:pPr algn="r" defTabSz="1088340">
              <a:defRPr/>
            </a:pPr>
            <a:r>
              <a:rPr lang="en-GB" sz="1200" b="1">
                <a:solidFill>
                  <a:prstClr val="white"/>
                </a:solidFill>
                <a:latin typeface="+mj-lt"/>
              </a:rPr>
              <a:t>Value-creating use case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6719548F-073A-A266-C20E-745CE17E0AE4}"/>
              </a:ext>
            </a:extLst>
          </p:cNvPr>
          <p:cNvSpPr txBox="1"/>
          <p:nvPr/>
        </p:nvSpPr>
        <p:spPr>
          <a:xfrm>
            <a:off x="3752935" y="5026027"/>
            <a:ext cx="1299658" cy="276999"/>
          </a:xfrm>
          <a:prstGeom prst="rect">
            <a:avLst/>
          </a:prstGeom>
          <a:noFill/>
        </p:spPr>
        <p:txBody>
          <a:bodyPr wrap="square" lIns="35991" rtlCol="0">
            <a:spAutoFit/>
          </a:bodyPr>
          <a:lstStyle/>
          <a:p>
            <a:pPr algn="r" defTabSz="1088340">
              <a:defRPr/>
            </a:pPr>
            <a:r>
              <a:rPr lang="en-GB" sz="1200" b="1">
                <a:solidFill>
                  <a:prstClr val="white"/>
                </a:solidFill>
                <a:latin typeface="+mj-lt"/>
              </a:rPr>
              <a:t>AI capabilities</a:t>
            </a:r>
          </a:p>
        </p:txBody>
      </p:sp>
      <p:sp>
        <p:nvSpPr>
          <p:cNvPr id="23" name="TextBox 1029">
            <a:extLst>
              <a:ext uri="{FF2B5EF4-FFF2-40B4-BE49-F238E27FC236}">
                <a16:creationId xmlns:a16="http://schemas.microsoft.com/office/drawing/2014/main" id="{07FE459E-AE30-C38D-114F-0D4280A4312B}"/>
              </a:ext>
            </a:extLst>
          </p:cNvPr>
          <p:cNvSpPr txBox="1"/>
          <p:nvPr/>
        </p:nvSpPr>
        <p:spPr>
          <a:xfrm>
            <a:off x="5129346" y="2564543"/>
            <a:ext cx="2043688" cy="338462"/>
          </a:xfrm>
          <a:prstGeom prst="rect">
            <a:avLst/>
          </a:prstGeom>
          <a:noFill/>
        </p:spPr>
        <p:txBody>
          <a:bodyPr wrap="square" lIns="91410" tIns="45706" rIns="91410" bIns="45706" rtlCol="0" anchor="t">
            <a:spAutoFit/>
          </a:bodyPr>
          <a:lstStyle>
            <a:defPPr>
              <a:defRPr lang="en-US"/>
            </a:defPPr>
            <a:lvl1pPr marL="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38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77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16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552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88122">
              <a:defRPr/>
            </a:pPr>
            <a:r>
              <a:rPr lang="en-GB" sz="1600" b="1" dirty="0">
                <a:solidFill>
                  <a:prstClr val="white"/>
                </a:solidFill>
                <a:latin typeface="+mj-lt"/>
              </a:rPr>
              <a:t>Now</a:t>
            </a:r>
          </a:p>
        </p:txBody>
      </p:sp>
      <p:sp>
        <p:nvSpPr>
          <p:cNvPr id="24" name="TextBox 1029">
            <a:extLst>
              <a:ext uri="{FF2B5EF4-FFF2-40B4-BE49-F238E27FC236}">
                <a16:creationId xmlns:a16="http://schemas.microsoft.com/office/drawing/2014/main" id="{639C159F-2929-7797-7CBD-A6F315228661}"/>
              </a:ext>
            </a:extLst>
          </p:cNvPr>
          <p:cNvSpPr txBox="1"/>
          <p:nvPr/>
        </p:nvSpPr>
        <p:spPr>
          <a:xfrm>
            <a:off x="7362852" y="2350434"/>
            <a:ext cx="1893442" cy="338462"/>
          </a:xfrm>
          <a:prstGeom prst="rect">
            <a:avLst/>
          </a:prstGeom>
          <a:noFill/>
        </p:spPr>
        <p:txBody>
          <a:bodyPr wrap="square" lIns="91410" tIns="45706" rIns="91410" bIns="45706" rtlCol="0" anchor="t">
            <a:spAutoFit/>
          </a:bodyPr>
          <a:lstStyle>
            <a:defPPr>
              <a:defRPr lang="en-US"/>
            </a:defPPr>
            <a:lvl1pPr marL="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38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77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16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552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88122">
              <a:defRPr/>
            </a:pPr>
            <a:r>
              <a:rPr lang="en-GB" sz="1600" b="1" dirty="0">
                <a:solidFill>
                  <a:prstClr val="white"/>
                </a:solidFill>
                <a:latin typeface="+mj-lt"/>
              </a:rPr>
              <a:t>Next</a:t>
            </a:r>
          </a:p>
        </p:txBody>
      </p:sp>
      <p:sp>
        <p:nvSpPr>
          <p:cNvPr id="25" name="TextBox 1029">
            <a:extLst>
              <a:ext uri="{FF2B5EF4-FFF2-40B4-BE49-F238E27FC236}">
                <a16:creationId xmlns:a16="http://schemas.microsoft.com/office/drawing/2014/main" id="{6585AA03-AE5A-AFBD-DD04-E316D4110D60}"/>
              </a:ext>
            </a:extLst>
          </p:cNvPr>
          <p:cNvSpPr txBox="1"/>
          <p:nvPr/>
        </p:nvSpPr>
        <p:spPr>
          <a:xfrm>
            <a:off x="9442158" y="2117199"/>
            <a:ext cx="2051143" cy="338462"/>
          </a:xfrm>
          <a:prstGeom prst="rect">
            <a:avLst/>
          </a:prstGeom>
          <a:noFill/>
        </p:spPr>
        <p:txBody>
          <a:bodyPr wrap="square" lIns="91410" tIns="45706" rIns="91410" bIns="45706" rtlCol="0" anchor="t">
            <a:spAutoFit/>
          </a:bodyPr>
          <a:lstStyle>
            <a:defPPr>
              <a:defRPr lang="en-US"/>
            </a:defPPr>
            <a:lvl1pPr marL="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38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77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16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552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88122">
              <a:defRPr/>
            </a:pPr>
            <a:r>
              <a:rPr lang="en-GB" sz="1600" b="1" dirty="0">
                <a:solidFill>
                  <a:prstClr val="white"/>
                </a:solidFill>
                <a:latin typeface="+mj-lt"/>
              </a:rPr>
              <a:t>Long term</a:t>
            </a:r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id="{141DB4DA-96DC-A2FC-5F32-5AE5DBC7B562}"/>
              </a:ext>
            </a:extLst>
          </p:cNvPr>
          <p:cNvSpPr txBox="1">
            <a:spLocks/>
          </p:cNvSpPr>
          <p:nvPr/>
        </p:nvSpPr>
        <p:spPr>
          <a:xfrm>
            <a:off x="647830" y="360088"/>
            <a:ext cx="11093897" cy="7199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088776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2800" dirty="0" err="1"/>
              <a:t>Personalised</a:t>
            </a:r>
            <a:r>
              <a:rPr lang="en-US" sz="2800" dirty="0"/>
              <a:t> experiences and smarter efficiencies powered by AI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00005E"/>
              </a:solidFill>
              <a:effectLst/>
              <a:uLnTx/>
              <a:uFillTx/>
              <a:latin typeface="Nordea Sans Large Black" panose="00000A00000000000000" pitchFamily="50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843531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LANGUAGETEXTBOX" val="En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LANGUAGETEXTBOX" val="E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rdea">
  <a:themeElements>
    <a:clrScheme name="Nordea">
      <a:dk1>
        <a:sysClr val="windowText" lastClr="000000"/>
      </a:dk1>
      <a:lt1>
        <a:sysClr val="window" lastClr="FFFFFF"/>
      </a:lt1>
      <a:dk2>
        <a:srgbClr val="00005E"/>
      </a:dk2>
      <a:lt2>
        <a:srgbClr val="0000A0"/>
      </a:lt2>
      <a:accent1>
        <a:srgbClr val="00005E"/>
      </a:accent1>
      <a:accent2>
        <a:srgbClr val="3399FF"/>
      </a:accent2>
      <a:accent3>
        <a:srgbClr val="99CCFF"/>
      </a:accent3>
      <a:accent4>
        <a:srgbClr val="FBD9CA"/>
      </a:accent4>
      <a:accent5>
        <a:srgbClr val="C9C7C7"/>
      </a:accent5>
      <a:accent6>
        <a:srgbClr val="474748"/>
      </a:accent6>
      <a:hlink>
        <a:srgbClr val="000000"/>
      </a:hlink>
      <a:folHlink>
        <a:srgbClr val="3399FF"/>
      </a:folHlink>
    </a:clrScheme>
    <a:fontScheme name="Nordea 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rgbClr val="8B8A8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>
            <a:solidFill>
              <a:schemeClr val="tx1"/>
            </a:solidFill>
          </a:defRPr>
        </a:defPPr>
      </a:lstStyle>
    </a:txDef>
  </a:objectDefaults>
  <a:extraClrSchemeLst/>
  <a:custClrLst>
    <a:custClr name="Nordea Deep Blue B5">
      <a:srgbClr val="00005E"/>
    </a:custClr>
    <a:custClr name="Nordea Blue B4">
      <a:srgbClr val="0000A0"/>
    </a:custClr>
    <a:custClr name="Nordea Vivid Blue B3">
      <a:srgbClr val="0000FF"/>
    </a:custClr>
    <a:custClr name="Nordea Medium Blue B2">
      <a:srgbClr val="3399FF"/>
    </a:custClr>
    <a:custClr name="Nordea Light Blue B1">
      <a:srgbClr val="99CCFF"/>
    </a:custClr>
    <a:custClr name="Nordea Dark Pink P3">
      <a:srgbClr val="F0C1AE"/>
    </a:custClr>
    <a:custClr name="Nordea Pink P2">
      <a:srgbClr val="FBD9CA"/>
    </a:custClr>
    <a:custClr name="Nordea Light Pink P1">
      <a:srgbClr val="FDECE4"/>
    </a:custClr>
    <a:custClr name="Nordea Dark Gray G4">
      <a:srgbClr val="474748"/>
    </a:custClr>
    <a:custClr name="Nordea Gray G3">
      <a:srgbClr val="8B8A8D"/>
    </a:custClr>
    <a:custClr name="Nordea Medium Gray G2">
      <a:srgbClr val="C9C7C7"/>
    </a:custClr>
    <a:custClr name="Nordea Light Gray G1">
      <a:srgbClr val="E6E4E3"/>
    </a:custClr>
    <a:custClr name="Nordea Accent Red">
      <a:srgbClr val="FF5959"/>
    </a:custClr>
    <a:custClr name="Nordea Accent Yellow">
      <a:srgbClr val="FFE183"/>
    </a:custClr>
    <a:custClr name="Nordea Accent Green">
      <a:srgbClr val="40BFA3"/>
    </a:custClr>
  </a:custClrLst>
</a:theme>
</file>

<file path=ppt/theme/theme2.xml><?xml version="1.0" encoding="utf-8"?>
<a:theme xmlns:a="http://schemas.openxmlformats.org/drawingml/2006/main" name="3_Nordea">
  <a:themeElements>
    <a:clrScheme name="Nordea">
      <a:dk1>
        <a:sysClr val="windowText" lastClr="000000"/>
      </a:dk1>
      <a:lt1>
        <a:sysClr val="window" lastClr="FFFFFF"/>
      </a:lt1>
      <a:dk2>
        <a:srgbClr val="00005E"/>
      </a:dk2>
      <a:lt2>
        <a:srgbClr val="0000A0"/>
      </a:lt2>
      <a:accent1>
        <a:srgbClr val="00005E"/>
      </a:accent1>
      <a:accent2>
        <a:srgbClr val="3399FF"/>
      </a:accent2>
      <a:accent3>
        <a:srgbClr val="99CCFF"/>
      </a:accent3>
      <a:accent4>
        <a:srgbClr val="FBD9CA"/>
      </a:accent4>
      <a:accent5>
        <a:srgbClr val="C9C7C7"/>
      </a:accent5>
      <a:accent6>
        <a:srgbClr val="474748"/>
      </a:accent6>
      <a:hlink>
        <a:srgbClr val="000000"/>
      </a:hlink>
      <a:folHlink>
        <a:srgbClr val="3399FF"/>
      </a:folHlink>
    </a:clrScheme>
    <a:fontScheme name="Nordea 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rgbClr val="8B8A8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>
            <a:solidFill>
              <a:schemeClr val="tx1"/>
            </a:solidFill>
          </a:defRPr>
        </a:defPPr>
      </a:lstStyle>
    </a:txDef>
  </a:objectDefaults>
  <a:extraClrSchemeLst/>
  <a:custClrLst>
    <a:custClr name="Nordea Deep Blue B5">
      <a:srgbClr val="00005E"/>
    </a:custClr>
    <a:custClr name="Nordea Blue B4">
      <a:srgbClr val="0000A0"/>
    </a:custClr>
    <a:custClr name="Nordea Vivid Blue B3">
      <a:srgbClr val="0000FF"/>
    </a:custClr>
    <a:custClr name="Nordea Medium Blue B2">
      <a:srgbClr val="3399FF"/>
    </a:custClr>
    <a:custClr name="Nordea Light Blue B1">
      <a:srgbClr val="99CCFF"/>
    </a:custClr>
    <a:custClr name="Nordea Dark Pink P3">
      <a:srgbClr val="F0C1AE"/>
    </a:custClr>
    <a:custClr name="Nordea Pink P2">
      <a:srgbClr val="FBD9CA"/>
    </a:custClr>
    <a:custClr name="Nordea Light Pink P1">
      <a:srgbClr val="FDECE4"/>
    </a:custClr>
    <a:custClr name="Nordea Dark Gray G4">
      <a:srgbClr val="474748"/>
    </a:custClr>
    <a:custClr name="Nordea Gray G3">
      <a:srgbClr val="8B8A8D"/>
    </a:custClr>
    <a:custClr name="Nordea Medium Gray G2">
      <a:srgbClr val="C9C7C7"/>
    </a:custClr>
    <a:custClr name="Nordea Light Gray G1">
      <a:srgbClr val="E6E4E3"/>
    </a:custClr>
    <a:custClr name="Nordea Accent Red">
      <a:srgbClr val="FF5959"/>
    </a:custClr>
    <a:custClr name="Nordea Accent Yellow">
      <a:srgbClr val="FFE183"/>
    </a:custClr>
    <a:custClr name="Nordea Accent Green">
      <a:srgbClr val="40BFA3"/>
    </a:custClr>
  </a:custClr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58CD4A2ACBCF4C876B306748FB5957" ma:contentTypeVersion="0" ma:contentTypeDescription="Create a new document." ma:contentTypeScope="" ma:versionID="3286ef5c8e4daf74b99081c8b761e3c1">
  <xsd:schema xmlns:xsd="http://www.w3.org/2001/XMLSchema" xmlns:xs="http://www.w3.org/2001/XMLSchema" xmlns:p="http://schemas.microsoft.com/office/2006/metadata/properties" xmlns:ns2="6acf3a52-5fc7-44aa-b5a3-d8fcafa65ae9" targetNamespace="http://schemas.microsoft.com/office/2006/metadata/properties" ma:root="true" ma:fieldsID="e8ff1453af244be79c7d1998fa47f1f5" ns2:_="">
    <xsd:import namespace="6acf3a52-5fc7-44aa-b5a3-d8fcafa65ae9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acf3a52-5fc7-44aa-b5a3-d8fcafa65ae9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6acf3a52-5fc7-44aa-b5a3-d8fcafa65ae9">VEUUTWAY6F6P-1314499509-31</_dlc_DocId>
    <_dlc_DocIdUrl xmlns="6acf3a52-5fc7-44aa-b5a3-d8fcafa65ae9">
      <Url>https://nova.bofnet.fi/sites/rv/_layouts/15/DocIdRedir.aspx?ID=VEUUTWAY6F6P-1314499509-31</Url>
      <Description>VEUUTWAY6F6P-1314499509-31</Description>
    </_dlc_DocIdUrl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8C76FF6A-C225-4036-9519-5B85D91020A6}"/>
</file>

<file path=customXml/itemProps2.xml><?xml version="1.0" encoding="utf-8"?>
<ds:datastoreItem xmlns:ds="http://schemas.openxmlformats.org/officeDocument/2006/customXml" ds:itemID="{F046B3C5-9F51-499A-8A06-8B553D63DFD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5151ACD-E452-43F6-BD4A-0926D2113B03}">
  <ds:schemaRefs>
    <ds:schemaRef ds:uri="c959acca-6051-449a-a204-cf821305d66e"/>
    <ds:schemaRef ds:uri="e97523ac-2491-442c-88f8-15e32ae63af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31DA6AFD-AF0C-4266-921E-B988882D0FDF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31</TotalTime>
  <Words>482</Words>
  <Application>Microsoft Office PowerPoint</Application>
  <PresentationFormat>Widescreen</PresentationFormat>
  <Paragraphs>96</Paragraphs>
  <Slides>1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2" baseType="lpstr">
      <vt:lpstr>Aptos</vt:lpstr>
      <vt:lpstr>Arial</vt:lpstr>
      <vt:lpstr>Calibri</vt:lpstr>
      <vt:lpstr>Nordea Sans Large Black</vt:lpstr>
      <vt:lpstr>Nordea Sans Large Bold</vt:lpstr>
      <vt:lpstr>Nordea Sans Large Light</vt:lpstr>
      <vt:lpstr>Nordea Sans Small Black</vt:lpstr>
      <vt:lpstr>Nordea</vt:lpstr>
      <vt:lpstr>3_Nordea</vt:lpstr>
      <vt:lpstr>think-cell Slide</vt:lpstr>
      <vt:lpstr>Using AI for customer benefit and efficiency in a retail bank</vt:lpstr>
      <vt:lpstr>PowerPoint Presentation</vt:lpstr>
      <vt:lpstr>PowerPoint Presentation</vt:lpstr>
      <vt:lpstr>Nordea in number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ife-long customer relationships:  AI as the enabler,  not the driver 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Guo, Jie</dc:creator>
  <cp:lastModifiedBy>Guo, Jie</cp:lastModifiedBy>
  <cp:revision>2</cp:revision>
  <dcterms:created xsi:type="dcterms:W3CDTF">2025-09-16T11:05:33Z</dcterms:created>
  <dcterms:modified xsi:type="dcterms:W3CDTF">2025-10-31T12:07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58CD4A2ACBCF4C876B306748FB5957</vt:lpwstr>
  </property>
  <property fmtid="{D5CDD505-2E9C-101B-9397-08002B2CF9AE}" pid="3" name="MSIP_Label_5ec17ee5-d002-416f-a486-c5f1fad2d957_Enabled">
    <vt:lpwstr>true</vt:lpwstr>
  </property>
  <property fmtid="{D5CDD505-2E9C-101B-9397-08002B2CF9AE}" pid="4" name="MSIP_Label_5ec17ee5-d002-416f-a486-c5f1fad2d957_SetDate">
    <vt:lpwstr>2025-09-16T11:05:49Z</vt:lpwstr>
  </property>
  <property fmtid="{D5CDD505-2E9C-101B-9397-08002B2CF9AE}" pid="5" name="MSIP_Label_5ec17ee5-d002-416f-a486-c5f1fad2d957_Method">
    <vt:lpwstr>Privileged</vt:lpwstr>
  </property>
  <property fmtid="{D5CDD505-2E9C-101B-9397-08002B2CF9AE}" pid="6" name="MSIP_Label_5ec17ee5-d002-416f-a486-c5f1fad2d957_Name">
    <vt:lpwstr>Open</vt:lpwstr>
  </property>
  <property fmtid="{D5CDD505-2E9C-101B-9397-08002B2CF9AE}" pid="7" name="MSIP_Label_5ec17ee5-d002-416f-a486-c5f1fad2d957_SiteId">
    <vt:lpwstr>8beccd60-0be6-4025-8e24-ca9ae679e1f4</vt:lpwstr>
  </property>
  <property fmtid="{D5CDD505-2E9C-101B-9397-08002B2CF9AE}" pid="8" name="MSIP_Label_5ec17ee5-d002-416f-a486-c5f1fad2d957_ActionId">
    <vt:lpwstr>2c7278c0-094f-4c03-8162-a24dd330cb8f</vt:lpwstr>
  </property>
  <property fmtid="{D5CDD505-2E9C-101B-9397-08002B2CF9AE}" pid="9" name="MSIP_Label_5ec17ee5-d002-416f-a486-c5f1fad2d957_ContentBits">
    <vt:lpwstr>0</vt:lpwstr>
  </property>
  <property fmtid="{D5CDD505-2E9C-101B-9397-08002B2CF9AE}" pid="10" name="MSIP_Label_5ec17ee5-d002-416f-a486-c5f1fad2d957_Tag">
    <vt:lpwstr>10, 0, 1, 2</vt:lpwstr>
  </property>
  <property fmtid="{D5CDD505-2E9C-101B-9397-08002B2CF9AE}" pid="11" name="MediaServiceImageTags">
    <vt:lpwstr/>
  </property>
  <property fmtid="{D5CDD505-2E9C-101B-9397-08002B2CF9AE}" pid="12" name="_dlc_DocIdItemGuid">
    <vt:lpwstr>06a1ead6-12da-40c4-b35d-8972aa0f0e3b</vt:lpwstr>
  </property>
</Properties>
</file>